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notesSlides/notesSlide3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6" r:id="rId5"/>
    <p:sldMasterId id="2147483712" r:id="rId6"/>
  </p:sldMasterIdLst>
  <p:notesMasterIdLst>
    <p:notesMasterId r:id="rId23"/>
  </p:notesMasterIdLst>
  <p:sldIdLst>
    <p:sldId id="2147471048" r:id="rId7"/>
    <p:sldId id="366" r:id="rId8"/>
    <p:sldId id="2147471192" r:id="rId9"/>
    <p:sldId id="2147471207" r:id="rId10"/>
    <p:sldId id="2147471050" r:id="rId11"/>
    <p:sldId id="2147471199" r:id="rId12"/>
    <p:sldId id="2147471201" r:id="rId13"/>
    <p:sldId id="2147471206" r:id="rId14"/>
    <p:sldId id="2147471148" r:id="rId15"/>
    <p:sldId id="2147471204" r:id="rId16"/>
    <p:sldId id="2147471152" r:id="rId17"/>
    <p:sldId id="2147471116" r:id="rId18"/>
    <p:sldId id="2147471154" r:id="rId19"/>
    <p:sldId id="2147471202" r:id="rId20"/>
    <p:sldId id="2147471089" r:id="rId21"/>
    <p:sldId id="2147471205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B87A654-9B3E-1BF5-C362-EC6D386F6974}" name="VILAJELIU, Alba" initials="VA" userId="S::avilajeliu@who.int::7a937d65-dd19-4d78-b565-80ebca80e53d" providerId="AD"/>
  <p188:author id="{A43169E0-B999-F374-08A9-6798CA75E651}" name="Thomas Cherian" initials="TC" userId="Thomas Cherian" providerId="None"/>
  <p188:author id="{BC78E6E0-F2D7-8675-9ACE-6732D00ABEF3}" name="RAMIREZ GONZALEZ, Alejandro" initials="RA" userId="S::ramirezgonzaleza@who.int::f85759c6-dd51-4b10-afc6-8161062f0dd8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328D023-A2AA-475A-99E5-B5B4E47EB3F4}" v="9" dt="2022-11-22T10:22:48.9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notesMaster" Target="notesMasters/notesMaster1.xml"/><Relationship Id="rId28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tableStyles" Target="tableStyles.xml"/><Relationship Id="rId30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LAJELIU, Alba" userId="7a937d65-dd19-4d78-b565-80ebca80e53d" providerId="ADAL" clId="{4328D023-A2AA-475A-99E5-B5B4E47EB3F4}"/>
    <pc:docChg chg="modSld">
      <pc:chgData name="VILAJELIU, Alba" userId="7a937d65-dd19-4d78-b565-80ebca80e53d" providerId="ADAL" clId="{4328D023-A2AA-475A-99E5-B5B4E47EB3F4}" dt="2022-11-22T10:22:48.993" v="114" actId="20577"/>
      <pc:docMkLst>
        <pc:docMk/>
      </pc:docMkLst>
      <pc:sldChg chg="modSp mod">
        <pc:chgData name="VILAJELIU, Alba" userId="7a937d65-dd19-4d78-b565-80ebca80e53d" providerId="ADAL" clId="{4328D023-A2AA-475A-99E5-B5B4E47EB3F4}" dt="2022-11-22T10:20:10.039" v="109" actId="20577"/>
        <pc:sldMkLst>
          <pc:docMk/>
          <pc:sldMk cId="3851634279" sldId="366"/>
        </pc:sldMkLst>
        <pc:spChg chg="mod">
          <ac:chgData name="VILAJELIU, Alba" userId="7a937d65-dd19-4d78-b565-80ebca80e53d" providerId="ADAL" clId="{4328D023-A2AA-475A-99E5-B5B4E47EB3F4}" dt="2022-11-22T10:12:21.261" v="15" actId="14100"/>
          <ac:spMkLst>
            <pc:docMk/>
            <pc:sldMk cId="3851634279" sldId="366"/>
            <ac:spMk id="2" creationId="{2C2BFAE1-45D3-4B3B-81D2-0BF25FA84FB8}"/>
          </ac:spMkLst>
        </pc:spChg>
        <pc:spChg chg="mod">
          <ac:chgData name="VILAJELIU, Alba" userId="7a937d65-dd19-4d78-b565-80ebca80e53d" providerId="ADAL" clId="{4328D023-A2AA-475A-99E5-B5B4E47EB3F4}" dt="2022-11-22T10:13:24.660" v="27" actId="1076"/>
          <ac:spMkLst>
            <pc:docMk/>
            <pc:sldMk cId="3851634279" sldId="366"/>
            <ac:spMk id="3" creationId="{A650D23C-9206-AE6E-4DD7-13FE196B0D9E}"/>
          </ac:spMkLst>
        </pc:spChg>
        <pc:spChg chg="mod">
          <ac:chgData name="VILAJELIU, Alba" userId="7a937d65-dd19-4d78-b565-80ebca80e53d" providerId="ADAL" clId="{4328D023-A2AA-475A-99E5-B5B4E47EB3F4}" dt="2022-11-22T10:13:22.306" v="26" actId="1076"/>
          <ac:spMkLst>
            <pc:docMk/>
            <pc:sldMk cId="3851634279" sldId="366"/>
            <ac:spMk id="4" creationId="{66114E67-159A-DB85-8807-FC583BD8D016}"/>
          </ac:spMkLst>
        </pc:spChg>
        <pc:spChg chg="mod">
          <ac:chgData name="VILAJELIU, Alba" userId="7a937d65-dd19-4d78-b565-80ebca80e53d" providerId="ADAL" clId="{4328D023-A2AA-475A-99E5-B5B4E47EB3F4}" dt="2022-11-22T10:13:19.532" v="25" actId="207"/>
          <ac:spMkLst>
            <pc:docMk/>
            <pc:sldMk cId="3851634279" sldId="366"/>
            <ac:spMk id="5" creationId="{B0FA85C5-F284-040A-3C65-383BFB6258B2}"/>
          </ac:spMkLst>
        </pc:spChg>
        <pc:spChg chg="mod">
          <ac:chgData name="VILAJELIU, Alba" userId="7a937d65-dd19-4d78-b565-80ebca80e53d" providerId="ADAL" clId="{4328D023-A2AA-475A-99E5-B5B4E47EB3F4}" dt="2022-11-22T10:17:12.606" v="99" actId="14100"/>
          <ac:spMkLst>
            <pc:docMk/>
            <pc:sldMk cId="3851634279" sldId="366"/>
            <ac:spMk id="6" creationId="{63260434-2570-F1EE-01DC-EEBB1576ECF0}"/>
          </ac:spMkLst>
        </pc:spChg>
        <pc:spChg chg="mod">
          <ac:chgData name="VILAJELIU, Alba" userId="7a937d65-dd19-4d78-b565-80ebca80e53d" providerId="ADAL" clId="{4328D023-A2AA-475A-99E5-B5B4E47EB3F4}" dt="2022-11-22T10:13:06.331" v="23" actId="1076"/>
          <ac:spMkLst>
            <pc:docMk/>
            <pc:sldMk cId="3851634279" sldId="366"/>
            <ac:spMk id="8" creationId="{08B48AD1-410C-A65E-68A4-4C98025E21B6}"/>
          </ac:spMkLst>
        </pc:spChg>
        <pc:spChg chg="mod">
          <ac:chgData name="VILAJELIU, Alba" userId="7a937d65-dd19-4d78-b565-80ebca80e53d" providerId="ADAL" clId="{4328D023-A2AA-475A-99E5-B5B4E47EB3F4}" dt="2022-11-22T10:20:10.039" v="109" actId="20577"/>
          <ac:spMkLst>
            <pc:docMk/>
            <pc:sldMk cId="3851634279" sldId="366"/>
            <ac:spMk id="9" creationId="{A90079E2-1340-FC39-CE72-70CEC7A09739}"/>
          </ac:spMkLst>
        </pc:spChg>
      </pc:sldChg>
      <pc:sldChg chg="modSp mod">
        <pc:chgData name="VILAJELIU, Alba" userId="7a937d65-dd19-4d78-b565-80ebca80e53d" providerId="ADAL" clId="{4328D023-A2AA-475A-99E5-B5B4E47EB3F4}" dt="2022-11-22T10:11:12.439" v="3" actId="20577"/>
        <pc:sldMkLst>
          <pc:docMk/>
          <pc:sldMk cId="136703092" sldId="2147471048"/>
        </pc:sldMkLst>
        <pc:spChg chg="mod">
          <ac:chgData name="VILAJELIU, Alba" userId="7a937d65-dd19-4d78-b565-80ebca80e53d" providerId="ADAL" clId="{4328D023-A2AA-475A-99E5-B5B4E47EB3F4}" dt="2022-11-22T10:11:12.439" v="3" actId="20577"/>
          <ac:spMkLst>
            <pc:docMk/>
            <pc:sldMk cId="136703092" sldId="2147471048"/>
            <ac:spMk id="2" creationId="{7B04949F-0ADB-CB8A-5D71-5CFE318D84AD}"/>
          </ac:spMkLst>
        </pc:spChg>
      </pc:sldChg>
      <pc:sldChg chg="modSp mod">
        <pc:chgData name="VILAJELIU, Alba" userId="7a937d65-dd19-4d78-b565-80ebca80e53d" providerId="ADAL" clId="{4328D023-A2AA-475A-99E5-B5B4E47EB3F4}" dt="2022-11-22T10:16:36.391" v="86" actId="20577"/>
        <pc:sldMkLst>
          <pc:docMk/>
          <pc:sldMk cId="3730200165" sldId="2147471050"/>
        </pc:sldMkLst>
        <pc:spChg chg="mod">
          <ac:chgData name="VILAJELIU, Alba" userId="7a937d65-dd19-4d78-b565-80ebca80e53d" providerId="ADAL" clId="{4328D023-A2AA-475A-99E5-B5B4E47EB3F4}" dt="2022-11-22T10:16:36.391" v="86" actId="20577"/>
          <ac:spMkLst>
            <pc:docMk/>
            <pc:sldMk cId="3730200165" sldId="2147471050"/>
            <ac:spMk id="5" creationId="{A8B8DED0-7ECF-9C5B-3B70-C5A871F6E28E}"/>
          </ac:spMkLst>
        </pc:spChg>
      </pc:sldChg>
      <pc:sldChg chg="modSp mod">
        <pc:chgData name="VILAJELIU, Alba" userId="7a937d65-dd19-4d78-b565-80ebca80e53d" providerId="ADAL" clId="{4328D023-A2AA-475A-99E5-B5B4E47EB3F4}" dt="2022-11-22T10:19:34.696" v="106" actId="20577"/>
        <pc:sldMkLst>
          <pc:docMk/>
          <pc:sldMk cId="785235194" sldId="2147471089"/>
        </pc:sldMkLst>
        <pc:spChg chg="mod">
          <ac:chgData name="VILAJELIU, Alba" userId="7a937d65-dd19-4d78-b565-80ebca80e53d" providerId="ADAL" clId="{4328D023-A2AA-475A-99E5-B5B4E47EB3F4}" dt="2022-11-22T10:19:34.696" v="106" actId="20577"/>
          <ac:spMkLst>
            <pc:docMk/>
            <pc:sldMk cId="785235194" sldId="2147471089"/>
            <ac:spMk id="4" creationId="{2DBAACBA-B280-DF4D-11EB-3F8B6F9BF940}"/>
          </ac:spMkLst>
        </pc:spChg>
      </pc:sldChg>
      <pc:sldChg chg="modSp mod">
        <pc:chgData name="VILAJELIU, Alba" userId="7a937d65-dd19-4d78-b565-80ebca80e53d" providerId="ADAL" clId="{4328D023-A2AA-475A-99E5-B5B4E47EB3F4}" dt="2022-11-22T10:16:41.324" v="89" actId="20577"/>
        <pc:sldMkLst>
          <pc:docMk/>
          <pc:sldMk cId="3566682895" sldId="2147471148"/>
        </pc:sldMkLst>
        <pc:spChg chg="mod">
          <ac:chgData name="VILAJELIU, Alba" userId="7a937d65-dd19-4d78-b565-80ebca80e53d" providerId="ADAL" clId="{4328D023-A2AA-475A-99E5-B5B4E47EB3F4}" dt="2022-11-22T10:16:41.324" v="89" actId="20577"/>
          <ac:spMkLst>
            <pc:docMk/>
            <pc:sldMk cId="3566682895" sldId="2147471148"/>
            <ac:spMk id="4" creationId="{7572EDC1-D67B-3040-6406-09F212E0BA93}"/>
          </ac:spMkLst>
        </pc:spChg>
      </pc:sldChg>
      <pc:sldChg chg="modSp mod">
        <pc:chgData name="VILAJELIU, Alba" userId="7a937d65-dd19-4d78-b565-80ebca80e53d" providerId="ADAL" clId="{4328D023-A2AA-475A-99E5-B5B4E47EB3F4}" dt="2022-11-22T10:16:50.280" v="92" actId="20577"/>
        <pc:sldMkLst>
          <pc:docMk/>
          <pc:sldMk cId="4068401925" sldId="2147471152"/>
        </pc:sldMkLst>
        <pc:spChg chg="mod">
          <ac:chgData name="VILAJELIU, Alba" userId="7a937d65-dd19-4d78-b565-80ebca80e53d" providerId="ADAL" clId="{4328D023-A2AA-475A-99E5-B5B4E47EB3F4}" dt="2022-11-22T10:16:50.280" v="92" actId="20577"/>
          <ac:spMkLst>
            <pc:docMk/>
            <pc:sldMk cId="4068401925" sldId="2147471152"/>
            <ac:spMk id="4" creationId="{4E582DE7-1335-D8BD-324E-5EFCD81D543B}"/>
          </ac:spMkLst>
        </pc:spChg>
      </pc:sldChg>
      <pc:sldChg chg="modSp mod">
        <pc:chgData name="VILAJELIU, Alba" userId="7a937d65-dd19-4d78-b565-80ebca80e53d" providerId="ADAL" clId="{4328D023-A2AA-475A-99E5-B5B4E47EB3F4}" dt="2022-11-22T10:16:56.124" v="95" actId="20577"/>
        <pc:sldMkLst>
          <pc:docMk/>
          <pc:sldMk cId="1596840195" sldId="2147471154"/>
        </pc:sldMkLst>
        <pc:spChg chg="mod">
          <ac:chgData name="VILAJELIU, Alba" userId="7a937d65-dd19-4d78-b565-80ebca80e53d" providerId="ADAL" clId="{4328D023-A2AA-475A-99E5-B5B4E47EB3F4}" dt="2022-11-22T10:16:56.124" v="95" actId="20577"/>
          <ac:spMkLst>
            <pc:docMk/>
            <pc:sldMk cId="1596840195" sldId="2147471154"/>
            <ac:spMk id="4" creationId="{5D1B216C-04E8-9D30-EEC5-051C5E5806C1}"/>
          </ac:spMkLst>
        </pc:spChg>
      </pc:sldChg>
      <pc:sldChg chg="modSp mod">
        <pc:chgData name="VILAJELIU, Alba" userId="7a937d65-dd19-4d78-b565-80ebca80e53d" providerId="ADAL" clId="{4328D023-A2AA-475A-99E5-B5B4E47EB3F4}" dt="2022-11-22T10:16:33.271" v="83" actId="20577"/>
        <pc:sldMkLst>
          <pc:docMk/>
          <pc:sldMk cId="3772504980" sldId="2147471192"/>
        </pc:sldMkLst>
        <pc:spChg chg="mod">
          <ac:chgData name="VILAJELIU, Alba" userId="7a937d65-dd19-4d78-b565-80ebca80e53d" providerId="ADAL" clId="{4328D023-A2AA-475A-99E5-B5B4E47EB3F4}" dt="2022-11-22T10:16:33.271" v="83" actId="20577"/>
          <ac:spMkLst>
            <pc:docMk/>
            <pc:sldMk cId="3772504980" sldId="2147471192"/>
            <ac:spMk id="5" creationId="{0BCA0805-B91D-54A7-92D9-1C05312DA5C5}"/>
          </ac:spMkLst>
        </pc:spChg>
      </pc:sldChg>
      <pc:sldChg chg="modSp mod">
        <pc:chgData name="VILAJELIU, Alba" userId="7a937d65-dd19-4d78-b565-80ebca80e53d" providerId="ADAL" clId="{4328D023-A2AA-475A-99E5-B5B4E47EB3F4}" dt="2022-11-22T10:15:45.955" v="64" actId="20577"/>
        <pc:sldMkLst>
          <pc:docMk/>
          <pc:sldMk cId="163764212" sldId="2147471199"/>
        </pc:sldMkLst>
        <pc:spChg chg="mod">
          <ac:chgData name="VILAJELIU, Alba" userId="7a937d65-dd19-4d78-b565-80ebca80e53d" providerId="ADAL" clId="{4328D023-A2AA-475A-99E5-B5B4E47EB3F4}" dt="2022-11-22T10:15:45.955" v="64" actId="20577"/>
          <ac:spMkLst>
            <pc:docMk/>
            <pc:sldMk cId="163764212" sldId="2147471199"/>
            <ac:spMk id="6" creationId="{C5298AE8-C32E-C209-A08B-20C43A08EB29}"/>
          </ac:spMkLst>
        </pc:spChg>
      </pc:sldChg>
      <pc:sldChg chg="modSp mod">
        <pc:chgData name="VILAJELIU, Alba" userId="7a937d65-dd19-4d78-b565-80ebca80e53d" providerId="ADAL" clId="{4328D023-A2AA-475A-99E5-B5B4E47EB3F4}" dt="2022-11-22T10:15:50.673" v="70" actId="20577"/>
        <pc:sldMkLst>
          <pc:docMk/>
          <pc:sldMk cId="3311517585" sldId="2147471201"/>
        </pc:sldMkLst>
        <pc:spChg chg="mod">
          <ac:chgData name="VILAJELIU, Alba" userId="7a937d65-dd19-4d78-b565-80ebca80e53d" providerId="ADAL" clId="{4328D023-A2AA-475A-99E5-B5B4E47EB3F4}" dt="2022-11-22T10:15:50.673" v="70" actId="20577"/>
          <ac:spMkLst>
            <pc:docMk/>
            <pc:sldMk cId="3311517585" sldId="2147471201"/>
            <ac:spMk id="6" creationId="{C5298AE8-C32E-C209-A08B-20C43A08EB29}"/>
          </ac:spMkLst>
        </pc:spChg>
      </pc:sldChg>
      <pc:sldChg chg="modSp mod">
        <pc:chgData name="VILAJELIU, Alba" userId="7a937d65-dd19-4d78-b565-80ebca80e53d" providerId="ADAL" clId="{4328D023-A2AA-475A-99E5-B5B4E47EB3F4}" dt="2022-11-22T10:16:11.207" v="79" actId="1076"/>
        <pc:sldMkLst>
          <pc:docMk/>
          <pc:sldMk cId="3335823630" sldId="2147471204"/>
        </pc:sldMkLst>
        <pc:spChg chg="mod">
          <ac:chgData name="VILAJELIU, Alba" userId="7a937d65-dd19-4d78-b565-80ebca80e53d" providerId="ADAL" clId="{4328D023-A2AA-475A-99E5-B5B4E47EB3F4}" dt="2022-11-22T10:16:11.207" v="79" actId="1076"/>
          <ac:spMkLst>
            <pc:docMk/>
            <pc:sldMk cId="3335823630" sldId="2147471204"/>
            <ac:spMk id="6" creationId="{C5298AE8-C32E-C209-A08B-20C43A08EB29}"/>
          </ac:spMkLst>
        </pc:spChg>
      </pc:sldChg>
      <pc:sldChg chg="modSp">
        <pc:chgData name="VILAJELIU, Alba" userId="7a937d65-dd19-4d78-b565-80ebca80e53d" providerId="ADAL" clId="{4328D023-A2AA-475A-99E5-B5B4E47EB3F4}" dt="2022-11-22T10:22:48.993" v="114" actId="20577"/>
        <pc:sldMkLst>
          <pc:docMk/>
          <pc:sldMk cId="1224350579" sldId="2147471205"/>
        </pc:sldMkLst>
        <pc:graphicFrameChg chg="mod">
          <ac:chgData name="VILAJELIU, Alba" userId="7a937d65-dd19-4d78-b565-80ebca80e53d" providerId="ADAL" clId="{4328D023-A2AA-475A-99E5-B5B4E47EB3F4}" dt="2022-11-22T10:22:39.392" v="110"/>
          <ac:graphicFrameMkLst>
            <pc:docMk/>
            <pc:sldMk cId="1224350579" sldId="2147471205"/>
            <ac:graphicFrameMk id="8" creationId="{F21FB4C1-E604-190E-19E3-27C42A0F1425}"/>
          </ac:graphicFrameMkLst>
        </pc:graphicFrameChg>
        <pc:graphicFrameChg chg="mod">
          <ac:chgData name="VILAJELIU, Alba" userId="7a937d65-dd19-4d78-b565-80ebca80e53d" providerId="ADAL" clId="{4328D023-A2AA-475A-99E5-B5B4E47EB3F4}" dt="2022-11-22T10:22:48.993" v="114" actId="20577"/>
          <ac:graphicFrameMkLst>
            <pc:docMk/>
            <pc:sldMk cId="1224350579" sldId="2147471205"/>
            <ac:graphicFrameMk id="10" creationId="{4AC77CEF-3A5D-0B00-9187-D6A7AA9B324C}"/>
          </ac:graphicFrameMkLst>
        </pc:graphicFrameChg>
      </pc:sldChg>
      <pc:sldChg chg="modSp mod">
        <pc:chgData name="VILAJELIU, Alba" userId="7a937d65-dd19-4d78-b565-80ebca80e53d" providerId="ADAL" clId="{4328D023-A2AA-475A-99E5-B5B4E47EB3F4}" dt="2022-11-22T10:15:56.441" v="78" actId="20577"/>
        <pc:sldMkLst>
          <pc:docMk/>
          <pc:sldMk cId="3853371106" sldId="2147471206"/>
        </pc:sldMkLst>
        <pc:spChg chg="mod">
          <ac:chgData name="VILAJELIU, Alba" userId="7a937d65-dd19-4d78-b565-80ebca80e53d" providerId="ADAL" clId="{4328D023-A2AA-475A-99E5-B5B4E47EB3F4}" dt="2022-11-22T10:15:56.441" v="78" actId="20577"/>
          <ac:spMkLst>
            <pc:docMk/>
            <pc:sldMk cId="3853371106" sldId="2147471206"/>
            <ac:spMk id="6" creationId="{C5298AE8-C32E-C209-A08B-20C43A08EB29}"/>
          </ac:spMkLst>
        </pc:spChg>
      </pc:sldChg>
      <pc:sldChg chg="modSp mod">
        <pc:chgData name="VILAJELIU, Alba" userId="7a937d65-dd19-4d78-b565-80ebca80e53d" providerId="ADAL" clId="{4328D023-A2AA-475A-99E5-B5B4E47EB3F4}" dt="2022-11-22T10:13:42.123" v="37" actId="20577"/>
        <pc:sldMkLst>
          <pc:docMk/>
          <pc:sldMk cId="2216146591" sldId="2147471207"/>
        </pc:sldMkLst>
        <pc:spChg chg="mod">
          <ac:chgData name="VILAJELIU, Alba" userId="7a937d65-dd19-4d78-b565-80ebca80e53d" providerId="ADAL" clId="{4328D023-A2AA-475A-99E5-B5B4E47EB3F4}" dt="2022-11-22T10:13:42.123" v="37" actId="20577"/>
          <ac:spMkLst>
            <pc:docMk/>
            <pc:sldMk cId="2216146591" sldId="2147471207"/>
            <ac:spMk id="6" creationId="{C5298AE8-C32E-C209-A08B-20C43A08EB29}"/>
          </ac:spMkLst>
        </pc:sp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diagrams/_rels/data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https://smartnet.niua.org/content/d9b14fcf-c907-4260-bfd7-3ee9fa94c8d4" TargetMode="External"/><Relationship Id="rId1" Type="http://schemas.openxmlformats.org/officeDocument/2006/relationships/hyperlink" Target="https://www.icmr.gov.in/idrone/index.htm" TargetMode="External"/><Relationship Id="rId5" Type="http://schemas.openxmlformats.org/officeDocument/2006/relationships/image" Target="../media/image28.png"/><Relationship Id="rId4" Type="http://schemas.openxmlformats.org/officeDocument/2006/relationships/image" Target="../media/image27.jpeg"/></Relationships>
</file>

<file path=ppt/diagrams/_rels/data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9.png"/></Relationships>
</file>

<file path=ppt/diagrams/_rels/data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0.png"/></Relationships>
</file>

<file path=ppt/diagrams/_rels/data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image" Target="../media/image31.png"/></Relationships>
</file>

<file path=ppt/diagrams/_rels/data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hyperlink" Target="https://www.technet-21.org/en/library/main/8255-fiji_social-listening_unicef-pacific" TargetMode="External"/></Relationships>
</file>

<file path=ppt/diagrams/_rels/data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png"/><Relationship Id="rId1" Type="http://schemas.openxmlformats.org/officeDocument/2006/relationships/hyperlink" Target="https://www.pedulilindungi.id/" TargetMode="External"/><Relationship Id="rId4" Type="http://schemas.openxmlformats.org/officeDocument/2006/relationships/image" Target="../media/image38.png"/></Relationships>
</file>

<file path=ppt/diagrams/_rels/data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9.png"/><Relationship Id="rId1" Type="http://schemas.openxmlformats.org/officeDocument/2006/relationships/hyperlink" Target="https://www.cowin.gov.in/" TargetMode="External"/><Relationship Id="rId4" Type="http://schemas.openxmlformats.org/officeDocument/2006/relationships/image" Target="../media/image40.png"/></Relationships>
</file>

<file path=ppt/diagrams/_rels/data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jpeg"/></Relationships>
</file>

<file path=ppt/diagrams/_rels/data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image" Target="../media/image14.pn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image" Target="../media/image17.png"/></Relationships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8.jpeg"/><Relationship Id="rId1" Type="http://schemas.openxmlformats.org/officeDocument/2006/relationships/image" Target="../media/image16.pn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diagrams/_rels/data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image" Target="../media/image22.png"/></Relationships>
</file>

<file path=ppt/diagrams/_rels/data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image" Target="../media/image18.jpeg"/></Relationships>
</file>

<file path=ppt/diagrams/_rels/data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png"/><Relationship Id="rId1" Type="http://schemas.openxmlformats.org/officeDocument/2006/relationships/image" Target="../media/image23.png"/></Relationships>
</file>

<file path=ppt/diagrams/_rels/drawing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image" Target="../media/image11.png"/></Relationships>
</file>

<file path=ppt/diagrams/_rels/drawing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png"/><Relationship Id="rId1" Type="http://schemas.openxmlformats.org/officeDocument/2006/relationships/hyperlink" Target="https://www.icmr.gov.in/idrone/index.htm" TargetMode="External"/><Relationship Id="rId5" Type="http://schemas.openxmlformats.org/officeDocument/2006/relationships/image" Target="../media/image28.png"/><Relationship Id="rId4" Type="http://schemas.openxmlformats.org/officeDocument/2006/relationships/hyperlink" Target="https://smartnet.niua.org/content/d9b14fcf-c907-4260-bfd7-3ee9fa94c8d4" TargetMode="External"/></Relationships>
</file>

<file path=ppt/diagrams/_rels/drawing11.xml.rels><?xml version="1.0" encoding="UTF-8" standalone="yes"?>
<Relationships xmlns="http://schemas.openxmlformats.org/package/2006/relationships"><Relationship Id="rId1" Type="http://schemas.openxmlformats.org/officeDocument/2006/relationships/image" Target="../media/image29.png"/></Relationships>
</file>

<file path=ppt/diagrams/_rels/drawing12.xml.rels><?xml version="1.0" encoding="UTF-8" standalone="yes"?>
<Relationships xmlns="http://schemas.openxmlformats.org/package/2006/relationships"><Relationship Id="rId1" Type="http://schemas.openxmlformats.org/officeDocument/2006/relationships/image" Target="../media/image30.png"/></Relationships>
</file>

<file path=ppt/diagrams/_rels/drawing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image" Target="../media/image31.png"/></Relationships>
</file>

<file path=ppt/diagrams/_rels/drawing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jpeg"/><Relationship Id="rId1" Type="http://schemas.openxmlformats.org/officeDocument/2006/relationships/hyperlink" Target="https://www.technet-21.org/en/library/main/8255-fiji_social-listening_unicef-pacific" TargetMode="External"/></Relationships>
</file>

<file path=ppt/diagrams/_rels/drawing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hyperlink" Target="https://www.pedulilindungi.id/" TargetMode="External"/><Relationship Id="rId1" Type="http://schemas.openxmlformats.org/officeDocument/2006/relationships/image" Target="../media/image36.png"/><Relationship Id="rId4" Type="http://schemas.openxmlformats.org/officeDocument/2006/relationships/image" Target="../media/image38.png"/></Relationships>
</file>

<file path=ppt/diagrams/_rels/drawing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39.png"/><Relationship Id="rId1" Type="http://schemas.openxmlformats.org/officeDocument/2006/relationships/hyperlink" Target="https://www.cowin.gov.in/" TargetMode="External"/><Relationship Id="rId4" Type="http://schemas.openxmlformats.org/officeDocument/2006/relationships/image" Target="../media/image40.png"/></Relationships>
</file>

<file path=ppt/diagrams/_rels/drawing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3.jpeg"/></Relationships>
</file>

<file path=ppt/diagrams/_rels/drawing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image" Target="../media/image14.pn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image" Target="../media/image17.png"/></Relationships>
</file>

<file path=ppt/diagrams/_rels/drawing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8.jpeg"/><Relationship Id="rId1" Type="http://schemas.openxmlformats.org/officeDocument/2006/relationships/image" Target="../media/image16.pn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image" Target="../media/image17.png"/></Relationships>
</file>

<file path=ppt/diagrams/_rels/drawing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0.png"/><Relationship Id="rId1" Type="http://schemas.openxmlformats.org/officeDocument/2006/relationships/image" Target="../media/image22.png"/></Relationships>
</file>

<file path=ppt/diagrams/_rels/drawing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image" Target="../media/image18.jpeg"/></Relationships>
</file>

<file path=ppt/diagrams/_rels/drawing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png"/><Relationship Id="rId1" Type="http://schemas.openxmlformats.org/officeDocument/2006/relationships/image" Target="../media/image2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012CEA51-7305-48A0-AF33-E67B6539B7AE}">
      <dgm:prSet phldrT="[Text]" custT="1"/>
      <dgm:spPr>
        <a:solidFill>
          <a:schemeClr val="accent4"/>
        </a:solidFill>
      </dgm:spPr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POOLING RESOURCE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Rwanda </a:t>
          </a:r>
          <a:r>
            <a:rPr lang="en-GB" sz="1400" b="0" kern="1200" dirty="0">
              <a:solidFill>
                <a:schemeClr val="tx2"/>
              </a:solidFill>
              <a:latin typeface="Arial"/>
              <a:ea typeface="+mn-ea"/>
              <a:cs typeface="+mn-cs"/>
            </a:rPr>
            <a:t>leveraged and pooled partner and domestic resources to procure COVID-19 and other vaccines and cold chain equipment for their national immunization programme</a:t>
          </a:r>
          <a:r>
            <a:rPr lang="en-GB" sz="1400" b="0" kern="1200" dirty="0">
              <a:solidFill>
                <a:schemeClr val="bg1"/>
              </a:solidFill>
              <a:latin typeface="Arial"/>
              <a:ea typeface="+mn-ea"/>
              <a:cs typeface="+mn-cs"/>
            </a:rPr>
            <a:t>.</a:t>
          </a:r>
          <a:endParaRPr lang="en-GB" sz="1400" b="0" kern="1200" dirty="0">
            <a:solidFill>
              <a:srgbClr val="008DC9">
                <a:lumMod val="40000"/>
                <a:lumOff val="60000"/>
              </a:srgbClr>
            </a:solidFill>
            <a:latin typeface="Arial"/>
            <a:ea typeface="+mn-ea"/>
            <a:cs typeface="+mn-cs"/>
          </a:endParaRPr>
        </a:p>
      </dgm:t>
    </dgm:pt>
    <dgm:pt modelId="{ACE82B28-7AF3-4CAB-9823-DA86418B60AC}" type="parTrans" cxnId="{BA97491B-EFCD-48AC-8CD8-E16EC13B8A18}">
      <dgm:prSet/>
      <dgm:spPr/>
      <dgm:t>
        <a:bodyPr/>
        <a:lstStyle/>
        <a:p>
          <a:endParaRPr lang="en-GB" sz="2000"/>
        </a:p>
      </dgm:t>
    </dgm:pt>
    <dgm:pt modelId="{D9223FFA-252B-4506-8B97-F603CD3B4F50}" type="sibTrans" cxnId="{BA97491B-EFCD-48AC-8CD8-E16EC13B8A18}">
      <dgm:prSet/>
      <dgm:spPr/>
      <dgm:t>
        <a:bodyPr/>
        <a:lstStyle/>
        <a:p>
          <a:endParaRPr lang="en-GB" sz="2000"/>
        </a:p>
      </dgm:t>
    </dgm:pt>
    <dgm:pt modelId="{BDDF08F1-522B-478A-BD61-2AF84D77AA20}">
      <dgm:prSet phldrT="[Text]" custT="1"/>
      <dgm:spPr>
        <a:solidFill>
          <a:schemeClr val="accent4"/>
        </a:solidFill>
      </dgm:spPr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JOINT PLANNING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Colombia </a:t>
          </a:r>
          <a:r>
            <a:rPr lang="en-GB" sz="1400" b="0" kern="1200" dirty="0">
              <a:solidFill>
                <a:schemeClr val="bg1"/>
              </a:solidFill>
              <a:latin typeface="Arial"/>
              <a:ea typeface="+mn-ea"/>
              <a:cs typeface="+mn-cs"/>
            </a:rPr>
            <a:t>conducted joint planning for procurement and delivery of COVID-19 and other essential vaccines in their national immunization programme</a:t>
          </a:r>
          <a:endParaRPr lang="en-GB" sz="1400" b="1" kern="1200" dirty="0">
            <a:solidFill>
              <a:srgbClr val="008DC9">
                <a:lumMod val="40000"/>
                <a:lumOff val="60000"/>
              </a:srgbClr>
            </a:solidFill>
            <a:latin typeface="Arial"/>
            <a:ea typeface="+mn-ea"/>
            <a:cs typeface="+mn-cs"/>
          </a:endParaRPr>
        </a:p>
      </dgm:t>
    </dgm:pt>
    <dgm:pt modelId="{47C385BB-999B-4495-B7B4-899C1C8A5F4C}" type="parTrans" cxnId="{3741C76E-03EF-447C-AFFF-4D8AE51E7E22}">
      <dgm:prSet/>
      <dgm:spPr/>
      <dgm:t>
        <a:bodyPr/>
        <a:lstStyle/>
        <a:p>
          <a:endParaRPr lang="en-GB"/>
        </a:p>
      </dgm:t>
    </dgm:pt>
    <dgm:pt modelId="{C89F3B50-B712-45FF-A720-AACD0AD725B8}" type="sibTrans" cxnId="{3741C76E-03EF-447C-AFFF-4D8AE51E7E22}">
      <dgm:prSet/>
      <dgm:spPr/>
      <dgm:t>
        <a:bodyPr/>
        <a:lstStyle/>
        <a:p>
          <a:endParaRPr lang="en-GB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8CB2BAA1-98E3-4649-A43C-DFF4FD76E75F}" type="pres">
      <dgm:prSet presAssocID="{012CEA51-7305-48A0-AF33-E67B6539B7AE}" presName="composite" presStyleCnt="0"/>
      <dgm:spPr/>
    </dgm:pt>
    <dgm:pt modelId="{1DE9332B-C20E-4633-995B-D281F5209CC6}" type="pres">
      <dgm:prSet presAssocID="{012CEA51-7305-48A0-AF33-E67B6539B7AE}" presName="imgShp" presStyleLbl="fgImgPlace1" presStyleIdx="0" presStyleCnt="2" custScaleX="81019" custScaleY="81219" custLinFactNeighborX="-8059" custLinFactNeighborY="-63740"/>
      <dgm:spPr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>
          <a:solidFill>
            <a:srgbClr val="7F7F7F"/>
          </a:solidFill>
        </a:ln>
      </dgm:spPr>
    </dgm:pt>
    <dgm:pt modelId="{231C5DC9-3B94-4233-B75F-2F187107BF74}" type="pres">
      <dgm:prSet presAssocID="{012CEA51-7305-48A0-AF33-E67B6539B7AE}" presName="txShp" presStyleLbl="node1" presStyleIdx="0" presStyleCnt="2" custScaleX="134772" custScaleY="81219" custLinFactNeighborX="6149" custLinFactNeighborY="-64790">
        <dgm:presLayoutVars>
          <dgm:bulletEnabled val="1"/>
        </dgm:presLayoutVars>
      </dgm:prSet>
      <dgm:spPr/>
    </dgm:pt>
    <dgm:pt modelId="{C1DE6FD7-5FCE-43E2-8E52-337F44083598}" type="pres">
      <dgm:prSet presAssocID="{D9223FFA-252B-4506-8B97-F603CD3B4F50}" presName="spacing" presStyleCnt="0"/>
      <dgm:spPr/>
    </dgm:pt>
    <dgm:pt modelId="{AFEC696D-6C1C-41A2-8294-A241F33FF9B5}" type="pres">
      <dgm:prSet presAssocID="{BDDF08F1-522B-478A-BD61-2AF84D77AA20}" presName="composite" presStyleCnt="0"/>
      <dgm:spPr/>
    </dgm:pt>
    <dgm:pt modelId="{87899642-929C-4402-846C-5A8CA965F6FD}" type="pres">
      <dgm:prSet presAssocID="{BDDF08F1-522B-478A-BD61-2AF84D77AA20}" presName="imgShp" presStyleLbl="fgImgPlace1" presStyleIdx="1" presStyleCnt="2" custScaleX="81019" custScaleY="81219" custLinFactNeighborX="-10476" custLinFactNeighborY="-14363"/>
      <dgm:spPr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solidFill>
            <a:srgbClr val="7F7F7F"/>
          </a:solidFill>
        </a:ln>
      </dgm:spPr>
    </dgm:pt>
    <dgm:pt modelId="{141AAAC3-25B2-47F3-AEF5-D3EFEF79CB8E}" type="pres">
      <dgm:prSet presAssocID="{BDDF08F1-522B-478A-BD61-2AF84D77AA20}" presName="txShp" presStyleLbl="node1" presStyleIdx="1" presStyleCnt="2" custScaleX="137482" custScaleY="81219" custLinFactNeighborX="4676" custLinFactNeighborY="-14395">
        <dgm:presLayoutVars>
          <dgm:bulletEnabled val="1"/>
        </dgm:presLayoutVars>
      </dgm:prSet>
      <dgm:spPr/>
    </dgm:pt>
  </dgm:ptLst>
  <dgm:cxnLst>
    <dgm:cxn modelId="{BA97491B-EFCD-48AC-8CD8-E16EC13B8A18}" srcId="{10FFE8D9-2523-4D21-B683-665DC183BD34}" destId="{012CEA51-7305-48A0-AF33-E67B6539B7AE}" srcOrd="0" destOrd="0" parTransId="{ACE82B28-7AF3-4CAB-9823-DA86418B60AC}" sibTransId="{D9223FFA-252B-4506-8B97-F603CD3B4F50}"/>
    <dgm:cxn modelId="{3741C76E-03EF-447C-AFFF-4D8AE51E7E22}" srcId="{10FFE8D9-2523-4D21-B683-665DC183BD34}" destId="{BDDF08F1-522B-478A-BD61-2AF84D77AA20}" srcOrd="1" destOrd="0" parTransId="{47C385BB-999B-4495-B7B4-899C1C8A5F4C}" sibTransId="{C89F3B50-B712-45FF-A720-AACD0AD725B8}"/>
    <dgm:cxn modelId="{402B8173-7056-4CF7-94F9-0C70B228B889}" type="presOf" srcId="{012CEA51-7305-48A0-AF33-E67B6539B7AE}" destId="{231C5DC9-3B94-4233-B75F-2F187107BF74}" srcOrd="0" destOrd="0" presId="urn:microsoft.com/office/officeart/2005/8/layout/vList3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2E6762C8-C922-495F-88FE-AD481573FE3E}" type="presOf" srcId="{BDDF08F1-522B-478A-BD61-2AF84D77AA20}" destId="{141AAAC3-25B2-47F3-AEF5-D3EFEF79CB8E}" srcOrd="0" destOrd="0" presId="urn:microsoft.com/office/officeart/2005/8/layout/vList3"/>
    <dgm:cxn modelId="{45D7A004-B02F-4D19-84DE-1938FC30CA28}" type="presParOf" srcId="{F62C43F7-0315-498D-9E30-10F0A0B9BBD9}" destId="{8CB2BAA1-98E3-4649-A43C-DFF4FD76E75F}" srcOrd="0" destOrd="0" presId="urn:microsoft.com/office/officeart/2005/8/layout/vList3"/>
    <dgm:cxn modelId="{D9EC8B32-1D57-4AEB-8146-4479C7843D6F}" type="presParOf" srcId="{8CB2BAA1-98E3-4649-A43C-DFF4FD76E75F}" destId="{1DE9332B-C20E-4633-995B-D281F5209CC6}" srcOrd="0" destOrd="0" presId="urn:microsoft.com/office/officeart/2005/8/layout/vList3"/>
    <dgm:cxn modelId="{577DACD3-480F-4781-B7FA-92B721B469F0}" type="presParOf" srcId="{8CB2BAA1-98E3-4649-A43C-DFF4FD76E75F}" destId="{231C5DC9-3B94-4233-B75F-2F187107BF74}" srcOrd="1" destOrd="0" presId="urn:microsoft.com/office/officeart/2005/8/layout/vList3"/>
    <dgm:cxn modelId="{2BFD1932-D028-4B74-92DA-2D8E0F4E3E23}" type="presParOf" srcId="{F62C43F7-0315-498D-9E30-10F0A0B9BBD9}" destId="{C1DE6FD7-5FCE-43E2-8E52-337F44083598}" srcOrd="1" destOrd="0" presId="urn:microsoft.com/office/officeart/2005/8/layout/vList3"/>
    <dgm:cxn modelId="{3FDA8E3D-DAF2-4C2E-8199-B27954539C72}" type="presParOf" srcId="{F62C43F7-0315-498D-9E30-10F0A0B9BBD9}" destId="{AFEC696D-6C1C-41A2-8294-A241F33FF9B5}" srcOrd="2" destOrd="0" presId="urn:microsoft.com/office/officeart/2005/8/layout/vList3"/>
    <dgm:cxn modelId="{C999DFB4-5A5B-4B76-8D28-EC4889E41063}" type="presParOf" srcId="{AFEC696D-6C1C-41A2-8294-A241F33FF9B5}" destId="{87899642-929C-4402-846C-5A8CA965F6FD}" srcOrd="0" destOrd="0" presId="urn:microsoft.com/office/officeart/2005/8/layout/vList3"/>
    <dgm:cxn modelId="{987C115E-36E5-4AEB-9960-EDF8D9669363}" type="presParOf" srcId="{AFEC696D-6C1C-41A2-8294-A241F33FF9B5}" destId="{141AAAC3-25B2-47F3-AEF5-D3EFEF79CB8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012CEA51-7305-48A0-AF33-E67B6539B7AE}">
      <dgm:prSet phldrT="[Text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b="1" kern="1200" dirty="0">
            <a:solidFill>
              <a:srgbClr val="092C3A">
                <a:lumMod val="75000"/>
                <a:lumOff val="25000"/>
              </a:srgbClr>
            </a:solidFill>
            <a:latin typeface="Arial"/>
            <a:ea typeface="+mn-ea"/>
            <a:cs typeface="+mn-cs"/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THE </a:t>
          </a:r>
          <a:r>
            <a:rPr lang="en-GB" sz="1300" b="1" kern="1200" dirty="0" err="1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iDRONE</a:t>
          </a:r>
          <a:r>
            <a:rPr lang="en-GB" sz="1300" b="1" kern="1200" dirty="0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 PROGRAMME FOR INTEGRATED DELIVERY OF SUPPLIE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chemeClr val="accent3">
                  <a:lumMod val="75000"/>
                </a:schemeClr>
              </a:solidFill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India</a:t>
          </a:r>
          <a:r>
            <a:rPr lang="en-GB" sz="1300" kern="1200" dirty="0">
              <a:solidFill>
                <a:schemeClr val="bg1"/>
              </a:solidFill>
            </a:rPr>
            <a:t> </a:t>
          </a:r>
          <a:r>
            <a:rPr lang="en-GB" sz="1300" kern="1200" dirty="0">
              <a:solidFill>
                <a:schemeClr val="tx1"/>
              </a:solidFill>
            </a:rPr>
            <a:t>used drones to deliver medical supplies in difficult geographic terrains, including COVID-19 vaccines, other vaccines, antenatal care medicines, multi-vitamins, syringes and gloves in the north-east of the country</a:t>
          </a:r>
          <a:r>
            <a:rPr lang="en-GB" sz="1300" kern="1200" dirty="0">
              <a:solidFill>
                <a:schemeClr val="bg1"/>
              </a:solidFill>
            </a:rPr>
            <a:t>.</a:t>
          </a:r>
          <a:endParaRPr lang="en-GB" sz="1300" b="1" kern="1200" dirty="0">
            <a:solidFill>
              <a:srgbClr val="092C3A">
                <a:lumMod val="75000"/>
                <a:lumOff val="25000"/>
              </a:srgbClr>
            </a:solidFill>
            <a:latin typeface="Arial"/>
            <a:ea typeface="+mn-ea"/>
            <a:cs typeface="+mn-cs"/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b="1" kern="1200" dirty="0">
            <a:solidFill>
              <a:srgbClr val="092C3A">
                <a:lumMod val="75000"/>
                <a:lumOff val="25000"/>
              </a:srgbClr>
            </a:solidFill>
            <a:latin typeface="Arial"/>
            <a:ea typeface="+mn-ea"/>
            <a:cs typeface="+mn-cs"/>
          </a:endParaRPr>
        </a:p>
      </dgm:t>
    </dgm:pt>
    <dgm:pt modelId="{ACE82B28-7AF3-4CAB-9823-DA86418B60AC}" type="parTrans" cxnId="{BA97491B-EFCD-48AC-8CD8-E16EC13B8A18}">
      <dgm:prSet/>
      <dgm:spPr/>
      <dgm:t>
        <a:bodyPr/>
        <a:lstStyle/>
        <a:p>
          <a:endParaRPr lang="en-GB" sz="2000"/>
        </a:p>
      </dgm:t>
    </dgm:pt>
    <dgm:pt modelId="{D9223FFA-252B-4506-8B97-F603CD3B4F50}" type="sibTrans" cxnId="{BA97491B-EFCD-48AC-8CD8-E16EC13B8A18}">
      <dgm:prSet/>
      <dgm:spPr/>
      <dgm:t>
        <a:bodyPr/>
        <a:lstStyle/>
        <a:p>
          <a:endParaRPr lang="en-GB" sz="2000"/>
        </a:p>
      </dgm:t>
    </dgm:pt>
    <dgm:pt modelId="{E7405B8F-AD5C-414B-90B3-CCD5F1A99E1D}">
      <dgm:prSet phldrT="[Text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STRENGTHENING OVERALL COLD CHAIN CAPACITY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rgbClr val="01ACEE">
                  <a:lumMod val="75000"/>
                </a:srgbClr>
              </a:solidFill>
              <a:latin typeface="Arial"/>
              <a:ea typeface="+mn-ea"/>
              <a:cs typeface="+mn-cs"/>
            </a:rPr>
            <a:t>Nepal</a:t>
          </a:r>
          <a:r>
            <a:rPr lang="en-US" sz="1300" kern="1200" dirty="0">
              <a:solidFill>
                <a:schemeClr val="tx1"/>
              </a:solidFill>
            </a:rPr>
            <a:t> leveraged the opportunity of COVID-19 vaccine deployment  to strengthen cold chain capacity for the overall national immunization programme</a:t>
          </a:r>
          <a:r>
            <a:rPr lang="en-US" sz="1300" kern="1200" dirty="0"/>
            <a:t>.. </a:t>
          </a:r>
          <a:endParaRPr lang="en-GB" sz="1300" kern="1200" dirty="0">
            <a:solidFill>
              <a:schemeClr val="tx1"/>
            </a:solidFill>
          </a:endParaRPr>
        </a:p>
      </dgm:t>
    </dgm:pt>
    <dgm:pt modelId="{6748EC12-2114-4DE6-ADD3-8CBBA0FF7104}" type="parTrans" cxnId="{1FF52E27-E43A-4254-86C1-FA108D9BF24F}">
      <dgm:prSet/>
      <dgm:spPr/>
      <dgm:t>
        <a:bodyPr/>
        <a:lstStyle/>
        <a:p>
          <a:endParaRPr lang="en-GB" sz="2000"/>
        </a:p>
      </dgm:t>
    </dgm:pt>
    <dgm:pt modelId="{DFBD3D8C-3E06-43B0-9E98-EC52E77CBF3B}" type="sibTrans" cxnId="{1FF52E27-E43A-4254-86C1-FA108D9BF24F}">
      <dgm:prSet/>
      <dgm:spPr/>
      <dgm:t>
        <a:bodyPr/>
        <a:lstStyle/>
        <a:p>
          <a:endParaRPr lang="en-GB" sz="2000"/>
        </a:p>
      </dgm:t>
    </dgm:pt>
    <dgm:pt modelId="{52D9B8AF-FFF4-4736-85FB-1C4756CA9572}">
      <dgm:prSet phldrT="[Text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pPr algn="l">
            <a:buNone/>
          </a:pPr>
          <a:r>
            <a:rPr lang="en-GB" sz="1300" b="1" dirty="0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LEVERAGING THE EXISTING E-LMIS FOR COVID-19 STOCK MANAGEMENT</a:t>
          </a:r>
        </a:p>
        <a:p>
          <a:pPr algn="l">
            <a:buNone/>
          </a:pPr>
          <a:r>
            <a:rPr lang="en-US" sz="1300" b="1" dirty="0">
              <a:solidFill>
                <a:schemeClr val="accent3">
                  <a:lumMod val="75000"/>
                </a:schemeClr>
              </a:solidFill>
              <a:hlinkClick xmlns:r="http://schemas.openxmlformats.org/officeDocument/2006/relationships"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India</a:t>
          </a:r>
          <a:r>
            <a:rPr lang="en-US" sz="1300" b="1" dirty="0">
              <a:solidFill>
                <a:schemeClr val="accent3">
                  <a:lumMod val="75000"/>
                </a:schemeClr>
              </a:solidFill>
            </a:rPr>
            <a:t> </a:t>
          </a:r>
          <a:r>
            <a:rPr lang="en-US" sz="1300" dirty="0">
              <a:solidFill>
                <a:schemeClr val="accent3">
                  <a:lumMod val="75000"/>
                </a:schemeClr>
              </a:solidFill>
            </a:rPr>
            <a:t> </a:t>
          </a:r>
          <a:r>
            <a:rPr lang="en-US" sz="1300" dirty="0">
              <a:solidFill>
                <a:schemeClr val="tx1"/>
              </a:solidFill>
            </a:rPr>
            <a:t>adapted the existing eLMIS (eVIN) to accommodate COVID-19 vaccine roll-out needs while maintaining essential immunizations during the pandemic.</a:t>
          </a:r>
          <a:endParaRPr lang="en-GB" sz="1300" dirty="0">
            <a:solidFill>
              <a:schemeClr val="tx1"/>
            </a:solidFill>
          </a:endParaRPr>
        </a:p>
      </dgm:t>
    </dgm:pt>
    <dgm:pt modelId="{75026698-B741-4139-AA29-AC5951E6AC9C}" type="parTrans" cxnId="{B1FA6BB3-6B2E-4EB6-BFA9-B0C9C4C0794D}">
      <dgm:prSet/>
      <dgm:spPr/>
      <dgm:t>
        <a:bodyPr/>
        <a:lstStyle/>
        <a:p>
          <a:endParaRPr lang="en-GB" sz="2000"/>
        </a:p>
      </dgm:t>
    </dgm:pt>
    <dgm:pt modelId="{9850A410-9A4F-4903-8C04-B681A6C60DAE}" type="sibTrans" cxnId="{B1FA6BB3-6B2E-4EB6-BFA9-B0C9C4C0794D}">
      <dgm:prSet/>
      <dgm:spPr/>
      <dgm:t>
        <a:bodyPr/>
        <a:lstStyle/>
        <a:p>
          <a:endParaRPr lang="en-GB" sz="2000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8CB2BAA1-98E3-4649-A43C-DFF4FD76E75F}" type="pres">
      <dgm:prSet presAssocID="{012CEA51-7305-48A0-AF33-E67B6539B7AE}" presName="composite" presStyleCnt="0"/>
      <dgm:spPr/>
    </dgm:pt>
    <dgm:pt modelId="{1DE9332B-C20E-4633-995B-D281F5209CC6}" type="pres">
      <dgm:prSet presAssocID="{012CEA51-7305-48A0-AF33-E67B6539B7AE}" presName="imgShp" presStyleLbl="fgImgPlace1" presStyleIdx="0" presStyleCnt="3" custLinFactNeighborX="-42255" custLinFactNeighborY="2844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231C5DC9-3B94-4233-B75F-2F187107BF74}" type="pres">
      <dgm:prSet presAssocID="{012CEA51-7305-48A0-AF33-E67B6539B7AE}" presName="txShp" presStyleLbl="node1" presStyleIdx="0" presStyleCnt="3" custScaleX="133513" custLinFactNeighborX="3982" custLinFactNeighborY="-69">
        <dgm:presLayoutVars>
          <dgm:bulletEnabled val="1"/>
        </dgm:presLayoutVars>
      </dgm:prSet>
      <dgm:spPr/>
    </dgm:pt>
    <dgm:pt modelId="{70B92CBE-4037-4CD5-B7CC-58B097DEE005}" type="pres">
      <dgm:prSet presAssocID="{D9223FFA-252B-4506-8B97-F603CD3B4F50}" presName="spacing" presStyleCnt="0"/>
      <dgm:spPr/>
    </dgm:pt>
    <dgm:pt modelId="{F7CAEC25-ABBA-4257-AE31-DCB9097CE404}" type="pres">
      <dgm:prSet presAssocID="{E7405B8F-AD5C-414B-90B3-CCD5F1A99E1D}" presName="composite" presStyleCnt="0"/>
      <dgm:spPr/>
    </dgm:pt>
    <dgm:pt modelId="{E2505A97-C61F-4AEC-B7CB-0B33D74D0143}" type="pres">
      <dgm:prSet presAssocID="{E7405B8F-AD5C-414B-90B3-CCD5F1A99E1D}" presName="imgShp" presStyleLbl="fgImgPlace1" presStyleIdx="1" presStyleCnt="3" custLinFactNeighborX="-42255" custLinFactNeighborY="2133"/>
      <dgm:spPr>
        <a:blipFill rotWithShape="1"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EA6993E9-8266-46BC-B04C-904098557E8E}" type="pres">
      <dgm:prSet presAssocID="{E7405B8F-AD5C-414B-90B3-CCD5F1A99E1D}" presName="txShp" presStyleLbl="node1" presStyleIdx="1" presStyleCnt="3" custScaleX="134501" custLinFactNeighborX="3010" custLinFactNeighborY="2133">
        <dgm:presLayoutVars>
          <dgm:bulletEnabled val="1"/>
        </dgm:presLayoutVars>
      </dgm:prSet>
      <dgm:spPr/>
    </dgm:pt>
    <dgm:pt modelId="{344FB807-38F7-4CAD-A959-A5FCA83223F5}" type="pres">
      <dgm:prSet presAssocID="{DFBD3D8C-3E06-43B0-9E98-EC52E77CBF3B}" presName="spacing" presStyleCnt="0"/>
      <dgm:spPr/>
    </dgm:pt>
    <dgm:pt modelId="{DBB293B0-0168-46BD-842A-D77AAC5452EF}" type="pres">
      <dgm:prSet presAssocID="{52D9B8AF-FFF4-4736-85FB-1C4756CA9572}" presName="composite" presStyleCnt="0"/>
      <dgm:spPr/>
    </dgm:pt>
    <dgm:pt modelId="{2B8815EE-8E16-4B94-9A43-582FDABEA376}" type="pres">
      <dgm:prSet presAssocID="{52D9B8AF-FFF4-4736-85FB-1C4756CA9572}" presName="imgShp" presStyleLbl="fgImgPlace1" presStyleIdx="2" presStyleCnt="3" custLinFactNeighborX="-42255" custLinFactNeighborY="2133"/>
      <dgm:spPr>
        <a:blipFill rotWithShape="1"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8B7D3A15-85F3-4171-96D0-9BED0914AB08}" type="pres">
      <dgm:prSet presAssocID="{52D9B8AF-FFF4-4736-85FB-1C4756CA9572}" presName="txShp" presStyleLbl="node1" presStyleIdx="2" presStyleCnt="3" custScaleX="133513" custLinFactNeighborX="3010" custLinFactNeighborY="69">
        <dgm:presLayoutVars>
          <dgm:bulletEnabled val="1"/>
        </dgm:presLayoutVars>
      </dgm:prSet>
      <dgm:spPr/>
    </dgm:pt>
  </dgm:ptLst>
  <dgm:cxnLst>
    <dgm:cxn modelId="{BA97491B-EFCD-48AC-8CD8-E16EC13B8A18}" srcId="{10FFE8D9-2523-4D21-B683-665DC183BD34}" destId="{012CEA51-7305-48A0-AF33-E67B6539B7AE}" srcOrd="0" destOrd="0" parTransId="{ACE82B28-7AF3-4CAB-9823-DA86418B60AC}" sibTransId="{D9223FFA-252B-4506-8B97-F603CD3B4F50}"/>
    <dgm:cxn modelId="{CB5C7B1B-768F-4E1A-A415-4B0428C17640}" type="presOf" srcId="{52D9B8AF-FFF4-4736-85FB-1C4756CA9572}" destId="{8B7D3A15-85F3-4171-96D0-9BED0914AB08}" srcOrd="0" destOrd="0" presId="urn:microsoft.com/office/officeart/2005/8/layout/vList3"/>
    <dgm:cxn modelId="{1FF52E27-E43A-4254-86C1-FA108D9BF24F}" srcId="{10FFE8D9-2523-4D21-B683-665DC183BD34}" destId="{E7405B8F-AD5C-414B-90B3-CCD5F1A99E1D}" srcOrd="1" destOrd="0" parTransId="{6748EC12-2114-4DE6-ADD3-8CBBA0FF7104}" sibTransId="{DFBD3D8C-3E06-43B0-9E98-EC52E77CBF3B}"/>
    <dgm:cxn modelId="{402B8173-7056-4CF7-94F9-0C70B228B889}" type="presOf" srcId="{012CEA51-7305-48A0-AF33-E67B6539B7AE}" destId="{231C5DC9-3B94-4233-B75F-2F187107BF74}" srcOrd="0" destOrd="0" presId="urn:microsoft.com/office/officeart/2005/8/layout/vList3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B1FA6BB3-6B2E-4EB6-BFA9-B0C9C4C0794D}" srcId="{10FFE8D9-2523-4D21-B683-665DC183BD34}" destId="{52D9B8AF-FFF4-4736-85FB-1C4756CA9572}" srcOrd="2" destOrd="0" parTransId="{75026698-B741-4139-AA29-AC5951E6AC9C}" sibTransId="{9850A410-9A4F-4903-8C04-B681A6C60DAE}"/>
    <dgm:cxn modelId="{E3B825F5-CAB8-4235-A0B0-2A5C19F8761C}" type="presOf" srcId="{E7405B8F-AD5C-414B-90B3-CCD5F1A99E1D}" destId="{EA6993E9-8266-46BC-B04C-904098557E8E}" srcOrd="0" destOrd="0" presId="urn:microsoft.com/office/officeart/2005/8/layout/vList3"/>
    <dgm:cxn modelId="{45D7A004-B02F-4D19-84DE-1938FC30CA28}" type="presParOf" srcId="{F62C43F7-0315-498D-9E30-10F0A0B9BBD9}" destId="{8CB2BAA1-98E3-4649-A43C-DFF4FD76E75F}" srcOrd="0" destOrd="0" presId="urn:microsoft.com/office/officeart/2005/8/layout/vList3"/>
    <dgm:cxn modelId="{D9EC8B32-1D57-4AEB-8146-4479C7843D6F}" type="presParOf" srcId="{8CB2BAA1-98E3-4649-A43C-DFF4FD76E75F}" destId="{1DE9332B-C20E-4633-995B-D281F5209CC6}" srcOrd="0" destOrd="0" presId="urn:microsoft.com/office/officeart/2005/8/layout/vList3"/>
    <dgm:cxn modelId="{577DACD3-480F-4781-B7FA-92B721B469F0}" type="presParOf" srcId="{8CB2BAA1-98E3-4649-A43C-DFF4FD76E75F}" destId="{231C5DC9-3B94-4233-B75F-2F187107BF74}" srcOrd="1" destOrd="0" presId="urn:microsoft.com/office/officeart/2005/8/layout/vList3"/>
    <dgm:cxn modelId="{EA04B5EB-B11F-479E-8200-1FA195882ADE}" type="presParOf" srcId="{F62C43F7-0315-498D-9E30-10F0A0B9BBD9}" destId="{70B92CBE-4037-4CD5-B7CC-58B097DEE005}" srcOrd="1" destOrd="0" presId="urn:microsoft.com/office/officeart/2005/8/layout/vList3"/>
    <dgm:cxn modelId="{11377740-8E43-42A8-A96F-618BC077FE5F}" type="presParOf" srcId="{F62C43F7-0315-498D-9E30-10F0A0B9BBD9}" destId="{F7CAEC25-ABBA-4257-AE31-DCB9097CE404}" srcOrd="2" destOrd="0" presId="urn:microsoft.com/office/officeart/2005/8/layout/vList3"/>
    <dgm:cxn modelId="{554BF879-E317-41FE-B990-EC2A9E701036}" type="presParOf" srcId="{F7CAEC25-ABBA-4257-AE31-DCB9097CE404}" destId="{E2505A97-C61F-4AEC-B7CB-0B33D74D0143}" srcOrd="0" destOrd="0" presId="urn:microsoft.com/office/officeart/2005/8/layout/vList3"/>
    <dgm:cxn modelId="{5F59B758-C728-4B7E-AFFE-0467ABA8B837}" type="presParOf" srcId="{F7CAEC25-ABBA-4257-AE31-DCB9097CE404}" destId="{EA6993E9-8266-46BC-B04C-904098557E8E}" srcOrd="1" destOrd="0" presId="urn:microsoft.com/office/officeart/2005/8/layout/vList3"/>
    <dgm:cxn modelId="{466829AA-A86E-4C8E-A482-262C13FBFCD9}" type="presParOf" srcId="{F62C43F7-0315-498D-9E30-10F0A0B9BBD9}" destId="{344FB807-38F7-4CAD-A959-A5FCA83223F5}" srcOrd="3" destOrd="0" presId="urn:microsoft.com/office/officeart/2005/8/layout/vList3"/>
    <dgm:cxn modelId="{E92781BE-15A8-486E-9A8E-DD7D7F462619}" type="presParOf" srcId="{F62C43F7-0315-498D-9E30-10F0A0B9BBD9}" destId="{DBB293B0-0168-46BD-842A-D77AAC5452EF}" srcOrd="4" destOrd="0" presId="urn:microsoft.com/office/officeart/2005/8/layout/vList3"/>
    <dgm:cxn modelId="{284460FB-F3AD-4DAD-A5DA-0F48D34DE1BF}" type="presParOf" srcId="{DBB293B0-0168-46BD-842A-D77AAC5452EF}" destId="{2B8815EE-8E16-4B94-9A43-582FDABEA376}" srcOrd="0" destOrd="0" presId="urn:microsoft.com/office/officeart/2005/8/layout/vList3"/>
    <dgm:cxn modelId="{243C0792-1473-4594-8888-9FB859B2F298}" type="presParOf" srcId="{DBB293B0-0168-46BD-842A-D77AAC5452EF}" destId="{8B7D3A15-85F3-4171-96D0-9BED0914AB0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012CEA51-7305-48A0-AF33-E67B6539B7AE}">
      <dgm:prSet phldrT="[Text]" custT="1"/>
      <dgm:spPr>
        <a:solidFill>
          <a:schemeClr val="accent4">
            <a:lumMod val="75000"/>
          </a:schemeClr>
        </a:solidFill>
      </dgm:spPr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0" kern="1200" dirty="0">
              <a:solidFill>
                <a:schemeClr val="accent1">
                  <a:lumMod val="25000"/>
                  <a:lumOff val="75000"/>
                </a:schemeClr>
              </a:solidFill>
            </a:rPr>
            <a:t>TRAINING HEALTH WORKERS TO IDENTIFY AND ENLIST BENEFICIARIE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chemeClr val="accent1">
                  <a:lumMod val="25000"/>
                  <a:lumOff val="75000"/>
                </a:schemeClr>
              </a:solidFill>
            </a:rPr>
            <a:t>India</a:t>
          </a:r>
          <a:r>
            <a:rPr lang="en-GB" sz="1300" kern="1200" dirty="0"/>
            <a:t> trained health workers to conduct surveys to identify and enlist beneficiaries for essential immunization and COVID-19 vaccination.</a:t>
          </a:r>
        </a:p>
      </dgm:t>
    </dgm:pt>
    <dgm:pt modelId="{ACE82B28-7AF3-4CAB-9823-DA86418B60AC}" type="parTrans" cxnId="{BA97491B-EFCD-48AC-8CD8-E16EC13B8A18}">
      <dgm:prSet/>
      <dgm:spPr/>
      <dgm:t>
        <a:bodyPr/>
        <a:lstStyle/>
        <a:p>
          <a:endParaRPr lang="en-GB" sz="2000"/>
        </a:p>
      </dgm:t>
    </dgm:pt>
    <dgm:pt modelId="{D9223FFA-252B-4506-8B97-F603CD3B4F50}" type="sibTrans" cxnId="{BA97491B-EFCD-48AC-8CD8-E16EC13B8A18}">
      <dgm:prSet/>
      <dgm:spPr/>
      <dgm:t>
        <a:bodyPr/>
        <a:lstStyle/>
        <a:p>
          <a:endParaRPr lang="en-GB" sz="2000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8CB2BAA1-98E3-4649-A43C-DFF4FD76E75F}" type="pres">
      <dgm:prSet presAssocID="{012CEA51-7305-48A0-AF33-E67B6539B7AE}" presName="composite" presStyleCnt="0"/>
      <dgm:spPr/>
    </dgm:pt>
    <dgm:pt modelId="{1DE9332B-C20E-4633-995B-D281F5209CC6}" type="pres">
      <dgm:prSet presAssocID="{012CEA51-7305-48A0-AF33-E67B6539B7AE}" presName="imgShp" presStyleLbl="fgImgPlace1" presStyleIdx="0" presStyleCnt="1" custLinFactNeighborX="-15315"/>
      <dgm:spPr>
        <a:blipFill rotWithShape="1">
          <a:blip xmlns:r="http://schemas.openxmlformats.org/officeDocument/2006/relationships" r:embed="rId1"/>
          <a:srcRect/>
          <a:stretch>
            <a:fillRect l="-1000" r="-1000"/>
          </a:stretch>
        </a:blipFill>
        <a:ln>
          <a:solidFill>
            <a:srgbClr val="7F7F7F"/>
          </a:solidFill>
        </a:ln>
      </dgm:spPr>
    </dgm:pt>
    <dgm:pt modelId="{231C5DC9-3B94-4233-B75F-2F187107BF74}" type="pres">
      <dgm:prSet presAssocID="{012CEA51-7305-48A0-AF33-E67B6539B7AE}" presName="txShp" presStyleLbl="node1" presStyleIdx="0" presStyleCnt="1" custScaleX="133754" custLinFactNeighborX="7932">
        <dgm:presLayoutVars>
          <dgm:bulletEnabled val="1"/>
        </dgm:presLayoutVars>
      </dgm:prSet>
      <dgm:spPr/>
    </dgm:pt>
  </dgm:ptLst>
  <dgm:cxnLst>
    <dgm:cxn modelId="{BA97491B-EFCD-48AC-8CD8-E16EC13B8A18}" srcId="{10FFE8D9-2523-4D21-B683-665DC183BD34}" destId="{012CEA51-7305-48A0-AF33-E67B6539B7AE}" srcOrd="0" destOrd="0" parTransId="{ACE82B28-7AF3-4CAB-9823-DA86418B60AC}" sibTransId="{D9223FFA-252B-4506-8B97-F603CD3B4F50}"/>
    <dgm:cxn modelId="{402B8173-7056-4CF7-94F9-0C70B228B889}" type="presOf" srcId="{012CEA51-7305-48A0-AF33-E67B6539B7AE}" destId="{231C5DC9-3B94-4233-B75F-2F187107BF74}" srcOrd="0" destOrd="0" presId="urn:microsoft.com/office/officeart/2005/8/layout/vList3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45D7A004-B02F-4D19-84DE-1938FC30CA28}" type="presParOf" srcId="{F62C43F7-0315-498D-9E30-10F0A0B9BBD9}" destId="{8CB2BAA1-98E3-4649-A43C-DFF4FD76E75F}" srcOrd="0" destOrd="0" presId="urn:microsoft.com/office/officeart/2005/8/layout/vList3"/>
    <dgm:cxn modelId="{D9EC8B32-1D57-4AEB-8146-4479C7843D6F}" type="presParOf" srcId="{8CB2BAA1-98E3-4649-A43C-DFF4FD76E75F}" destId="{1DE9332B-C20E-4633-995B-D281F5209CC6}" srcOrd="0" destOrd="0" presId="urn:microsoft.com/office/officeart/2005/8/layout/vList3"/>
    <dgm:cxn modelId="{577DACD3-480F-4781-B7FA-92B721B469F0}" type="presParOf" srcId="{8CB2BAA1-98E3-4649-A43C-DFF4FD76E75F}" destId="{231C5DC9-3B94-4233-B75F-2F187107BF74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012CEA51-7305-48A0-AF33-E67B6539B7AE}">
      <dgm:prSet phldrT="[Text]" custT="1"/>
      <dgm:spPr>
        <a:solidFill>
          <a:schemeClr val="accent4">
            <a:lumMod val="75000"/>
          </a:schemeClr>
        </a:solidFill>
      </dgm:spPr>
      <dgm:t>
        <a:bodyPr/>
        <a:lstStyle/>
        <a:p>
          <a:pPr algn="l">
            <a:buNone/>
          </a:pPr>
          <a:r>
            <a:rPr lang="en-GB" sz="1300" b="1" dirty="0">
              <a:solidFill>
                <a:schemeClr val="accent1">
                  <a:lumMod val="25000"/>
                  <a:lumOff val="75000"/>
                </a:schemeClr>
              </a:solidFill>
            </a:rPr>
            <a:t>LEVERAGING THE POLIO WORKFORCE</a:t>
          </a:r>
        </a:p>
        <a:p>
          <a:pPr algn="l">
            <a:buNone/>
          </a:pPr>
          <a:r>
            <a:rPr lang="en-GB" sz="1300" b="1" dirty="0">
              <a:solidFill>
                <a:schemeClr val="accent1">
                  <a:lumMod val="25000"/>
                  <a:lumOff val="75000"/>
                </a:schemeClr>
              </a:solidFill>
            </a:rPr>
            <a:t>Somalia</a:t>
          </a:r>
          <a:r>
            <a:rPr lang="en-GB" sz="1300" dirty="0"/>
            <a:t> used the polio workforce to conduct training of trainers for COVID-19 vaccination, recruiting vaccinators and for developing micro plans</a:t>
          </a:r>
        </a:p>
      </dgm:t>
    </dgm:pt>
    <dgm:pt modelId="{ACE82B28-7AF3-4CAB-9823-DA86418B60AC}" type="parTrans" cxnId="{BA97491B-EFCD-48AC-8CD8-E16EC13B8A18}">
      <dgm:prSet/>
      <dgm:spPr/>
      <dgm:t>
        <a:bodyPr/>
        <a:lstStyle/>
        <a:p>
          <a:endParaRPr lang="en-GB" sz="1800"/>
        </a:p>
      </dgm:t>
    </dgm:pt>
    <dgm:pt modelId="{D9223FFA-252B-4506-8B97-F603CD3B4F50}" type="sibTrans" cxnId="{BA97491B-EFCD-48AC-8CD8-E16EC13B8A18}">
      <dgm:prSet/>
      <dgm:spPr/>
      <dgm:t>
        <a:bodyPr/>
        <a:lstStyle/>
        <a:p>
          <a:endParaRPr lang="en-GB" sz="1800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8CB2BAA1-98E3-4649-A43C-DFF4FD76E75F}" type="pres">
      <dgm:prSet presAssocID="{012CEA51-7305-48A0-AF33-E67B6539B7AE}" presName="composite" presStyleCnt="0"/>
      <dgm:spPr/>
    </dgm:pt>
    <dgm:pt modelId="{1DE9332B-C20E-4633-995B-D281F5209CC6}" type="pres">
      <dgm:prSet presAssocID="{012CEA51-7305-48A0-AF33-E67B6539B7AE}" presName="imgShp" presStyleLbl="fgImgPlace1" presStyleIdx="0" presStyleCnt="1" custLinFactNeighborX="-30135" custLinFactNeighborY="-1293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solidFill>
            <a:srgbClr val="7F7F7F"/>
          </a:solidFill>
        </a:ln>
      </dgm:spPr>
    </dgm:pt>
    <dgm:pt modelId="{231C5DC9-3B94-4233-B75F-2F187107BF74}" type="pres">
      <dgm:prSet presAssocID="{012CEA51-7305-48A0-AF33-E67B6539B7AE}" presName="txShp" presStyleLbl="node1" presStyleIdx="0" presStyleCnt="1" custScaleX="134151" custLinFactNeighborX="11549" custLinFactNeighborY="-1293">
        <dgm:presLayoutVars>
          <dgm:bulletEnabled val="1"/>
        </dgm:presLayoutVars>
      </dgm:prSet>
      <dgm:spPr/>
    </dgm:pt>
  </dgm:ptLst>
  <dgm:cxnLst>
    <dgm:cxn modelId="{BA97491B-EFCD-48AC-8CD8-E16EC13B8A18}" srcId="{10FFE8D9-2523-4D21-B683-665DC183BD34}" destId="{012CEA51-7305-48A0-AF33-E67B6539B7AE}" srcOrd="0" destOrd="0" parTransId="{ACE82B28-7AF3-4CAB-9823-DA86418B60AC}" sibTransId="{D9223FFA-252B-4506-8B97-F603CD3B4F50}"/>
    <dgm:cxn modelId="{402B8173-7056-4CF7-94F9-0C70B228B889}" type="presOf" srcId="{012CEA51-7305-48A0-AF33-E67B6539B7AE}" destId="{231C5DC9-3B94-4233-B75F-2F187107BF74}" srcOrd="0" destOrd="0" presId="urn:microsoft.com/office/officeart/2005/8/layout/vList3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45D7A004-B02F-4D19-84DE-1938FC30CA28}" type="presParOf" srcId="{F62C43F7-0315-498D-9E30-10F0A0B9BBD9}" destId="{8CB2BAA1-98E3-4649-A43C-DFF4FD76E75F}" srcOrd="0" destOrd="0" presId="urn:microsoft.com/office/officeart/2005/8/layout/vList3"/>
    <dgm:cxn modelId="{D9EC8B32-1D57-4AEB-8146-4479C7843D6F}" type="presParOf" srcId="{8CB2BAA1-98E3-4649-A43C-DFF4FD76E75F}" destId="{1DE9332B-C20E-4633-995B-D281F5209CC6}" srcOrd="0" destOrd="0" presId="urn:microsoft.com/office/officeart/2005/8/layout/vList3"/>
    <dgm:cxn modelId="{577DACD3-480F-4781-B7FA-92B721B469F0}" type="presParOf" srcId="{8CB2BAA1-98E3-4649-A43C-DFF4FD76E75F}" destId="{231C5DC9-3B94-4233-B75F-2F187107BF74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52D9B8AF-FFF4-4736-85FB-1C4756CA9572}">
      <dgm:prSet phldrT="[Text]" custT="1"/>
      <dgm:spPr>
        <a:solidFill>
          <a:srgbClr val="0070C0"/>
        </a:solidFill>
      </dgm:spPr>
      <dgm:t>
        <a:bodyPr/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USE OF TRUSTED COMMUNITY INFLUENCERS</a:t>
          </a:r>
        </a:p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1">
                  <a:lumMod val="25000"/>
                  <a:lumOff val="75000"/>
                </a:schemeClr>
              </a:solidFill>
            </a:rPr>
            <a:t>Yemen</a:t>
          </a:r>
          <a:r>
            <a:rPr lang="en-US" sz="1300" b="1" kern="1200" dirty="0"/>
            <a:t>: </a:t>
          </a:r>
          <a:r>
            <a:rPr lang="en-US" sz="1300" kern="1200" dirty="0"/>
            <a:t>Community midwives (trusted influencers) trained to provide COVID-19 and essential immunizations </a:t>
          </a:r>
          <a:endParaRPr lang="en-IN" sz="1300" b="1" kern="1200" dirty="0">
            <a:solidFill>
              <a:srgbClr val="008DC9">
                <a:lumMod val="40000"/>
                <a:lumOff val="60000"/>
              </a:srgbClr>
            </a:solidFill>
            <a:latin typeface="Arial"/>
            <a:ea typeface="+mn-ea"/>
            <a:cs typeface="+mn-cs"/>
          </a:endParaRPr>
        </a:p>
      </dgm:t>
    </dgm:pt>
    <dgm:pt modelId="{9850A410-9A4F-4903-8C04-B681A6C60DAE}" type="sibTrans" cxnId="{B1FA6BB3-6B2E-4EB6-BFA9-B0C9C4C0794D}">
      <dgm:prSet/>
      <dgm:spPr/>
      <dgm:t>
        <a:bodyPr/>
        <a:lstStyle/>
        <a:p>
          <a:endParaRPr lang="en-GB" sz="2000"/>
        </a:p>
      </dgm:t>
    </dgm:pt>
    <dgm:pt modelId="{75026698-B741-4139-AA29-AC5951E6AC9C}" type="parTrans" cxnId="{B1FA6BB3-6B2E-4EB6-BFA9-B0C9C4C0794D}">
      <dgm:prSet/>
      <dgm:spPr/>
      <dgm:t>
        <a:bodyPr/>
        <a:lstStyle/>
        <a:p>
          <a:endParaRPr lang="en-GB" sz="2000"/>
        </a:p>
      </dgm:t>
    </dgm:pt>
    <dgm:pt modelId="{7738453D-0869-428C-94E2-624E2480F4B9}">
      <dgm:prSet phldrT="[Text]"/>
      <dgm:spPr>
        <a:solidFill>
          <a:srgbClr val="0070C0"/>
        </a:solidFill>
      </dgm:spPr>
      <dgm:t>
        <a:bodyPr/>
        <a:lstStyle/>
        <a:p>
          <a:r>
            <a:rPr lang="en-IN" b="1" dirty="0">
              <a:solidFill>
                <a:schemeClr val="accent1">
                  <a:lumMod val="25000"/>
                  <a:lumOff val="75000"/>
                </a:schemeClr>
              </a:solidFill>
            </a:rPr>
            <a:t>PROMOTING COVID-19 SAFETY MEASURES JOINTLY WITH CHILDHOOD IMMUNIZATION</a:t>
          </a:r>
        </a:p>
        <a:p>
          <a:r>
            <a:rPr lang="en-US" b="1" dirty="0">
              <a:solidFill>
                <a:schemeClr val="accent1">
                  <a:lumMod val="25000"/>
                  <a:lumOff val="75000"/>
                </a:schemeClr>
              </a:solidFill>
            </a:rPr>
            <a:t>Nepal</a:t>
          </a:r>
          <a:r>
            <a:rPr lang="en-US" b="1" dirty="0"/>
            <a:t> p</a:t>
          </a:r>
          <a:r>
            <a:rPr lang="en-US" dirty="0"/>
            <a:t>romoted COVID-19 safety measures together with essential immunizations, particularly targeting children.</a:t>
          </a:r>
          <a:endParaRPr lang="en-IN" b="1" dirty="0">
            <a:solidFill>
              <a:schemeClr val="accent1">
                <a:lumMod val="25000"/>
                <a:lumOff val="75000"/>
              </a:schemeClr>
            </a:solidFill>
          </a:endParaRPr>
        </a:p>
      </dgm:t>
    </dgm:pt>
    <dgm:pt modelId="{CF5ED120-B7A9-4361-8D2A-3392DA802A98}" type="parTrans" cxnId="{EA41085E-9191-45FB-8DF0-964152B4051F}">
      <dgm:prSet/>
      <dgm:spPr/>
      <dgm:t>
        <a:bodyPr/>
        <a:lstStyle/>
        <a:p>
          <a:endParaRPr lang="en-GB"/>
        </a:p>
      </dgm:t>
    </dgm:pt>
    <dgm:pt modelId="{2AF4BE16-8AAB-4CE0-8B99-F97097D092DF}" type="sibTrans" cxnId="{EA41085E-9191-45FB-8DF0-964152B4051F}">
      <dgm:prSet/>
      <dgm:spPr/>
      <dgm:t>
        <a:bodyPr/>
        <a:lstStyle/>
        <a:p>
          <a:endParaRPr lang="en-GB"/>
        </a:p>
      </dgm:t>
    </dgm:pt>
    <dgm:pt modelId="{97D9ED20-CC4D-45B8-90F7-66A8F31FFAA6}">
      <dgm:prSet phldrT="[Text]"/>
      <dgm:spPr>
        <a:solidFill>
          <a:srgbClr val="0070C0"/>
        </a:solidFill>
      </dgm:spPr>
      <dgm:t>
        <a:bodyPr/>
        <a:lstStyle/>
        <a:p>
          <a:r>
            <a:rPr lang="en-IN" b="1" dirty="0">
              <a:solidFill>
                <a:schemeClr val="accent1">
                  <a:lumMod val="25000"/>
                  <a:lumOff val="75000"/>
                </a:schemeClr>
              </a:solidFill>
            </a:rPr>
            <a:t>INTEGRATED HEALTH COMMUNICATION</a:t>
          </a:r>
        </a:p>
        <a:p>
          <a:r>
            <a:rPr lang="en-US" b="1" dirty="0">
              <a:solidFill>
                <a:schemeClr val="accent1">
                  <a:lumMod val="25000"/>
                  <a:lumOff val="75000"/>
                </a:schemeClr>
              </a:solidFill>
            </a:rPr>
            <a:t>Cameroon</a:t>
          </a:r>
          <a:r>
            <a:rPr lang="en-US" b="1" dirty="0"/>
            <a:t>:</a:t>
          </a:r>
          <a:r>
            <a:rPr lang="en-US" dirty="0"/>
            <a:t> Coupled vaccination with existing health communication activities.</a:t>
          </a:r>
          <a:endParaRPr lang="en-IN" b="0" dirty="0">
            <a:solidFill>
              <a:schemeClr val="bg1"/>
            </a:solidFill>
          </a:endParaRPr>
        </a:p>
      </dgm:t>
    </dgm:pt>
    <dgm:pt modelId="{7BC14CA4-F0AE-4AC2-AC6D-D96D703FD065}" type="parTrans" cxnId="{6A6F019E-E70B-47CF-8F8F-737E488D62F8}">
      <dgm:prSet/>
      <dgm:spPr/>
      <dgm:t>
        <a:bodyPr/>
        <a:lstStyle/>
        <a:p>
          <a:endParaRPr lang="en-GB"/>
        </a:p>
      </dgm:t>
    </dgm:pt>
    <dgm:pt modelId="{86E557D4-EA9F-496D-BAD9-4420B9C4F8A4}" type="sibTrans" cxnId="{6A6F019E-E70B-47CF-8F8F-737E488D62F8}">
      <dgm:prSet/>
      <dgm:spPr/>
      <dgm:t>
        <a:bodyPr/>
        <a:lstStyle/>
        <a:p>
          <a:endParaRPr lang="en-GB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DBB293B0-0168-46BD-842A-D77AAC5452EF}" type="pres">
      <dgm:prSet presAssocID="{52D9B8AF-FFF4-4736-85FB-1C4756CA9572}" presName="composite" presStyleCnt="0"/>
      <dgm:spPr/>
    </dgm:pt>
    <dgm:pt modelId="{2B8815EE-8E16-4B94-9A43-582FDABEA376}" type="pres">
      <dgm:prSet presAssocID="{52D9B8AF-FFF4-4736-85FB-1C4756CA9572}" presName="imgShp" presStyleLbl="fgImgPlace1" presStyleIdx="0" presStyleCnt="3" custScaleX="84822" custScaleY="86851" custLinFactNeighborX="-9189" custLinFactNeighborY="-80803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8B7D3A15-85F3-4171-96D0-9BED0914AB08}" type="pres">
      <dgm:prSet presAssocID="{52D9B8AF-FFF4-4736-85FB-1C4756CA9572}" presName="txShp" presStyleLbl="node1" presStyleIdx="0" presStyleCnt="3" custScaleX="134772" custScaleY="84302" custLinFactNeighborX="5308" custLinFactNeighborY="-77292">
        <dgm:presLayoutVars>
          <dgm:bulletEnabled val="1"/>
        </dgm:presLayoutVars>
      </dgm:prSet>
      <dgm:spPr/>
    </dgm:pt>
    <dgm:pt modelId="{0BE9D238-4C42-4E8C-A572-BAECEEF7D9C2}" type="pres">
      <dgm:prSet presAssocID="{9850A410-9A4F-4903-8C04-B681A6C60DAE}" presName="spacing" presStyleCnt="0"/>
      <dgm:spPr/>
    </dgm:pt>
    <dgm:pt modelId="{E403DCFF-D9DF-4ECF-B47E-8A91821C0001}" type="pres">
      <dgm:prSet presAssocID="{7738453D-0869-428C-94E2-624E2480F4B9}" presName="composite" presStyleCnt="0"/>
      <dgm:spPr/>
    </dgm:pt>
    <dgm:pt modelId="{31C46BFB-0A07-4333-9A31-38CC269FBF52}" type="pres">
      <dgm:prSet presAssocID="{7738453D-0869-428C-94E2-624E2480F4B9}" presName="imgShp" presStyleLbl="fgImgPlace1" presStyleIdx="1" presStyleCnt="3" custScaleX="85560" custScaleY="86893" custLinFactNeighborX="-10768" custLinFactNeighborY="-7540"/>
      <dgm:spPr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6000" b="-6000"/>
          </a:stretch>
        </a:blipFill>
      </dgm:spPr>
    </dgm:pt>
    <dgm:pt modelId="{38EF4E29-5CC6-4BD5-A195-487CD863E76C}" type="pres">
      <dgm:prSet presAssocID="{7738453D-0869-428C-94E2-624E2480F4B9}" presName="txShp" presStyleLbl="node1" presStyleIdx="1" presStyleCnt="3" custScaleX="130125" custScaleY="90666" custLinFactNeighborX="6346" custLinFactNeighborY="-7701">
        <dgm:presLayoutVars>
          <dgm:bulletEnabled val="1"/>
        </dgm:presLayoutVars>
      </dgm:prSet>
      <dgm:spPr/>
    </dgm:pt>
    <dgm:pt modelId="{F026CC06-1E6E-436B-ADCA-D45C2C6BB40C}" type="pres">
      <dgm:prSet presAssocID="{2AF4BE16-8AAB-4CE0-8B99-F97097D092DF}" presName="spacing" presStyleCnt="0"/>
      <dgm:spPr/>
    </dgm:pt>
    <dgm:pt modelId="{21FED64C-0165-43C9-A857-3865C831E982}" type="pres">
      <dgm:prSet presAssocID="{97D9ED20-CC4D-45B8-90F7-66A8F31FFAA6}" presName="composite" presStyleCnt="0"/>
      <dgm:spPr/>
    </dgm:pt>
    <dgm:pt modelId="{4974E8B2-547A-48D7-98D9-E8E35B042C11}" type="pres">
      <dgm:prSet presAssocID="{97D9ED20-CC4D-45B8-90F7-66A8F31FFAA6}" presName="imgShp" presStyleLbl="fgImgPlace1" presStyleIdx="2" presStyleCnt="3" custScaleX="79066" custScaleY="82140" custLinFactNeighborX="-10447" custLinFactNeighborY="-13059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</dgm:pt>
    <dgm:pt modelId="{F3B1A7D4-8958-4DF5-B6E6-D99CF38895A6}" type="pres">
      <dgm:prSet presAssocID="{97D9ED20-CC4D-45B8-90F7-66A8F31FFAA6}" presName="txShp" presStyleLbl="node1" presStyleIdx="2" presStyleCnt="3" custScaleX="132017" custScaleY="88819" custLinFactNeighborX="4764" custLinFactNeighborY="-11527">
        <dgm:presLayoutVars>
          <dgm:bulletEnabled val="1"/>
        </dgm:presLayoutVars>
      </dgm:prSet>
      <dgm:spPr/>
    </dgm:pt>
  </dgm:ptLst>
  <dgm:cxnLst>
    <dgm:cxn modelId="{93383A10-15C8-4ED4-B9B7-12A3CBA0B2D7}" type="presOf" srcId="{7738453D-0869-428C-94E2-624E2480F4B9}" destId="{38EF4E29-5CC6-4BD5-A195-487CD863E76C}" srcOrd="0" destOrd="0" presId="urn:microsoft.com/office/officeart/2005/8/layout/vList3"/>
    <dgm:cxn modelId="{CB5C7B1B-768F-4E1A-A415-4B0428C17640}" type="presOf" srcId="{52D9B8AF-FFF4-4736-85FB-1C4756CA9572}" destId="{8B7D3A15-85F3-4171-96D0-9BED0914AB08}" srcOrd="0" destOrd="0" presId="urn:microsoft.com/office/officeart/2005/8/layout/vList3"/>
    <dgm:cxn modelId="{44E4DF28-390F-45D5-A92A-3F6CBB3A25C3}" type="presOf" srcId="{97D9ED20-CC4D-45B8-90F7-66A8F31FFAA6}" destId="{F3B1A7D4-8958-4DF5-B6E6-D99CF38895A6}" srcOrd="0" destOrd="0" presId="urn:microsoft.com/office/officeart/2005/8/layout/vList3"/>
    <dgm:cxn modelId="{EA41085E-9191-45FB-8DF0-964152B4051F}" srcId="{10FFE8D9-2523-4D21-B683-665DC183BD34}" destId="{7738453D-0869-428C-94E2-624E2480F4B9}" srcOrd="1" destOrd="0" parTransId="{CF5ED120-B7A9-4361-8D2A-3392DA802A98}" sibTransId="{2AF4BE16-8AAB-4CE0-8B99-F97097D092DF}"/>
    <dgm:cxn modelId="{6A6F019E-E70B-47CF-8F8F-737E488D62F8}" srcId="{10FFE8D9-2523-4D21-B683-665DC183BD34}" destId="{97D9ED20-CC4D-45B8-90F7-66A8F31FFAA6}" srcOrd="2" destOrd="0" parTransId="{7BC14CA4-F0AE-4AC2-AC6D-D96D703FD065}" sibTransId="{86E557D4-EA9F-496D-BAD9-4420B9C4F8A4}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B1FA6BB3-6B2E-4EB6-BFA9-B0C9C4C0794D}" srcId="{10FFE8D9-2523-4D21-B683-665DC183BD34}" destId="{52D9B8AF-FFF4-4736-85FB-1C4756CA9572}" srcOrd="0" destOrd="0" parTransId="{75026698-B741-4139-AA29-AC5951E6AC9C}" sibTransId="{9850A410-9A4F-4903-8C04-B681A6C60DAE}"/>
    <dgm:cxn modelId="{E92781BE-15A8-486E-9A8E-DD7D7F462619}" type="presParOf" srcId="{F62C43F7-0315-498D-9E30-10F0A0B9BBD9}" destId="{DBB293B0-0168-46BD-842A-D77AAC5452EF}" srcOrd="0" destOrd="0" presId="urn:microsoft.com/office/officeart/2005/8/layout/vList3"/>
    <dgm:cxn modelId="{284460FB-F3AD-4DAD-A5DA-0F48D34DE1BF}" type="presParOf" srcId="{DBB293B0-0168-46BD-842A-D77AAC5452EF}" destId="{2B8815EE-8E16-4B94-9A43-582FDABEA376}" srcOrd="0" destOrd="0" presId="urn:microsoft.com/office/officeart/2005/8/layout/vList3"/>
    <dgm:cxn modelId="{243C0792-1473-4594-8888-9FB859B2F298}" type="presParOf" srcId="{DBB293B0-0168-46BD-842A-D77AAC5452EF}" destId="{8B7D3A15-85F3-4171-96D0-9BED0914AB08}" srcOrd="1" destOrd="0" presId="urn:microsoft.com/office/officeart/2005/8/layout/vList3"/>
    <dgm:cxn modelId="{9C29B79E-5105-48E0-8245-764722B0469C}" type="presParOf" srcId="{F62C43F7-0315-498D-9E30-10F0A0B9BBD9}" destId="{0BE9D238-4C42-4E8C-A572-BAECEEF7D9C2}" srcOrd="1" destOrd="0" presId="urn:microsoft.com/office/officeart/2005/8/layout/vList3"/>
    <dgm:cxn modelId="{ED1820A7-A7D3-4473-B46F-C3B37454AC1F}" type="presParOf" srcId="{F62C43F7-0315-498D-9E30-10F0A0B9BBD9}" destId="{E403DCFF-D9DF-4ECF-B47E-8A91821C0001}" srcOrd="2" destOrd="0" presId="urn:microsoft.com/office/officeart/2005/8/layout/vList3"/>
    <dgm:cxn modelId="{AD194818-0C6B-43BC-B1B8-90CAABF02634}" type="presParOf" srcId="{E403DCFF-D9DF-4ECF-B47E-8A91821C0001}" destId="{31C46BFB-0A07-4333-9A31-38CC269FBF52}" srcOrd="0" destOrd="0" presId="urn:microsoft.com/office/officeart/2005/8/layout/vList3"/>
    <dgm:cxn modelId="{D89CBB5C-324B-4FF8-B230-C7E798A31B3C}" type="presParOf" srcId="{E403DCFF-D9DF-4ECF-B47E-8A91821C0001}" destId="{38EF4E29-5CC6-4BD5-A195-487CD863E76C}" srcOrd="1" destOrd="0" presId="urn:microsoft.com/office/officeart/2005/8/layout/vList3"/>
    <dgm:cxn modelId="{48140795-4EC0-4202-BC42-1B54F3D2D076}" type="presParOf" srcId="{F62C43F7-0315-498D-9E30-10F0A0B9BBD9}" destId="{F026CC06-1E6E-436B-ADCA-D45C2C6BB40C}" srcOrd="3" destOrd="0" presId="urn:microsoft.com/office/officeart/2005/8/layout/vList3"/>
    <dgm:cxn modelId="{4C1096DF-7400-4796-8861-F0B0F1C49AEC}" type="presParOf" srcId="{F62C43F7-0315-498D-9E30-10F0A0B9BBD9}" destId="{21FED64C-0165-43C9-A857-3865C831E982}" srcOrd="4" destOrd="0" presId="urn:microsoft.com/office/officeart/2005/8/layout/vList3"/>
    <dgm:cxn modelId="{33A0E5A0-5796-4CD8-BA01-305B96174989}" type="presParOf" srcId="{21FED64C-0165-43C9-A857-3865C831E982}" destId="{4974E8B2-547A-48D7-98D9-E8E35B042C11}" srcOrd="0" destOrd="0" presId="urn:microsoft.com/office/officeart/2005/8/layout/vList3"/>
    <dgm:cxn modelId="{FDC610C1-346B-4F23-8DB3-945A91E7D3D4}" type="presParOf" srcId="{21FED64C-0165-43C9-A857-3865C831E982}" destId="{F3B1A7D4-8958-4DF5-B6E6-D99CF38895A6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012CEA51-7305-48A0-AF33-E67B6539B7AE}">
      <dgm:prSet phldrT="[Text]" custT="1"/>
      <dgm:spPr>
        <a:solidFill>
          <a:srgbClr val="0070C0"/>
        </a:solidFill>
      </dgm:spPr>
      <dgm:t>
        <a:bodyPr/>
        <a:lstStyle/>
        <a:p>
          <a:pPr algn="l"/>
          <a:r>
            <a:rPr lang="en-US" sz="1300" b="1" dirty="0">
              <a:solidFill>
                <a:schemeClr val="accent4">
                  <a:lumMod val="40000"/>
                  <a:lumOff val="60000"/>
                </a:schemeClr>
              </a:solidFill>
              <a:latin typeface="Arial"/>
            </a:rPr>
            <a:t>COMMUNITY INVOLVEMENT AND </a:t>
          </a:r>
          <a:r>
            <a:rPr lang="en-US" sz="1300" b="1" dirty="0">
              <a:solidFill>
                <a:schemeClr val="accent4">
                  <a:lumMod val="40000"/>
                  <a:lumOff val="60000"/>
                </a:schemeClr>
              </a:solidFill>
            </a:rPr>
            <a:t>INTEGRATION OF VACCINATION WITH ROUTINE ANC SERVICES</a:t>
          </a:r>
        </a:p>
        <a:p>
          <a:pPr algn="l"/>
          <a:r>
            <a:rPr lang="en-US" sz="1300" b="1" dirty="0">
              <a:solidFill>
                <a:schemeClr val="accent1">
                  <a:lumMod val="25000"/>
                  <a:lumOff val="75000"/>
                </a:schemeClr>
              </a:solidFill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Fiji</a:t>
          </a:r>
          <a:r>
            <a:rPr lang="en-US" sz="1300" b="1" dirty="0">
              <a:solidFill>
                <a:schemeClr val="accent1">
                  <a:lumMod val="25000"/>
                  <a:lumOff val="75000"/>
                </a:schemeClr>
              </a:solidFill>
            </a:rPr>
            <a:t> </a:t>
          </a:r>
          <a:r>
            <a:rPr lang="fr-FR" sz="1300" b="0" dirty="0"/>
            <a:t>used </a:t>
          </a:r>
          <a:r>
            <a:rPr lang="en-IN" sz="1300" b="0" dirty="0"/>
            <a:t>community feedback </a:t>
          </a:r>
          <a:r>
            <a:rPr lang="fr-FR" sz="1300" b="0" dirty="0"/>
            <a:t>and </a:t>
          </a:r>
          <a:r>
            <a:rPr lang="fr-FR" sz="1300" b="0" dirty="0" err="1"/>
            <a:t>established</a:t>
          </a:r>
          <a:r>
            <a:rPr lang="fr-FR" sz="1300" b="0" dirty="0"/>
            <a:t> </a:t>
          </a:r>
          <a:r>
            <a:rPr lang="en-US" sz="1300" b="0" dirty="0"/>
            <a:t>a dedicated Social Listening Subgroup under a multi-partner RCCE initiative to improve demand for routine immunization and COVID-19 vaccination.</a:t>
          </a:r>
          <a:r>
            <a:rPr lang="en-US" sz="1300" b="0" dirty="0">
              <a:latin typeface="Arial"/>
            </a:rPr>
            <a:t> </a:t>
          </a:r>
          <a:endParaRPr lang="en-IN" sz="1300" b="0" dirty="0"/>
        </a:p>
      </dgm:t>
    </dgm:pt>
    <dgm:pt modelId="{ACE82B28-7AF3-4CAB-9823-DA86418B60AC}" type="parTrans" cxnId="{BA97491B-EFCD-48AC-8CD8-E16EC13B8A18}">
      <dgm:prSet/>
      <dgm:spPr/>
      <dgm:t>
        <a:bodyPr/>
        <a:lstStyle/>
        <a:p>
          <a:endParaRPr lang="en-GB" sz="2000"/>
        </a:p>
      </dgm:t>
    </dgm:pt>
    <dgm:pt modelId="{D9223FFA-252B-4506-8B97-F603CD3B4F50}" type="sibTrans" cxnId="{BA97491B-EFCD-48AC-8CD8-E16EC13B8A18}">
      <dgm:prSet/>
      <dgm:spPr/>
      <dgm:t>
        <a:bodyPr/>
        <a:lstStyle/>
        <a:p>
          <a:endParaRPr lang="en-GB" sz="2000"/>
        </a:p>
      </dgm:t>
    </dgm:pt>
    <dgm:pt modelId="{E7405B8F-AD5C-414B-90B3-CCD5F1A99E1D}">
      <dgm:prSet phldrT="[Text]" custT="1"/>
      <dgm:spPr>
        <a:solidFill>
          <a:srgbClr val="0070C0"/>
        </a:solidFill>
      </dgm:spPr>
      <dgm:t>
        <a:bodyPr/>
        <a:lstStyle/>
        <a:p>
          <a:pPr algn="l"/>
          <a:r>
            <a:rPr lang="en-IN" sz="13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COMMUNITY ENGAGEMENT FOR COMMUNICATING EFFECTIVE HEALTH INTERVENTIONS</a:t>
          </a:r>
        </a:p>
        <a:p>
          <a:pPr algn="l"/>
          <a:r>
            <a:rPr lang="en-US" sz="1300" b="1" kern="1200" dirty="0">
              <a:solidFill>
                <a:schemeClr val="accent1">
                  <a:lumMod val="25000"/>
                  <a:lumOff val="75000"/>
                </a:schemeClr>
              </a:solidFill>
            </a:rPr>
            <a:t>Afghanistan</a:t>
          </a:r>
          <a:r>
            <a:rPr lang="en-US" sz="1300" b="1" kern="1200" dirty="0"/>
            <a:t>:</a:t>
          </a:r>
          <a:r>
            <a:rPr lang="en-US" sz="1300" kern="1200" dirty="0"/>
            <a:t> Cross-sectoral community engagement activities to share information on safe water, hygiene and vaccination. </a:t>
          </a:r>
          <a:endParaRPr lang="en-IN" sz="1300" b="0" kern="1200" dirty="0">
            <a:solidFill>
              <a:schemeClr val="bg1"/>
            </a:solidFill>
          </a:endParaRPr>
        </a:p>
      </dgm:t>
    </dgm:pt>
    <dgm:pt modelId="{DFBD3D8C-3E06-43B0-9E98-EC52E77CBF3B}" type="sibTrans" cxnId="{1FF52E27-E43A-4254-86C1-FA108D9BF24F}">
      <dgm:prSet/>
      <dgm:spPr/>
      <dgm:t>
        <a:bodyPr/>
        <a:lstStyle/>
        <a:p>
          <a:endParaRPr lang="en-GB" sz="2000"/>
        </a:p>
      </dgm:t>
    </dgm:pt>
    <dgm:pt modelId="{6748EC12-2114-4DE6-ADD3-8CBBA0FF7104}" type="parTrans" cxnId="{1FF52E27-E43A-4254-86C1-FA108D9BF24F}">
      <dgm:prSet/>
      <dgm:spPr/>
      <dgm:t>
        <a:bodyPr/>
        <a:lstStyle/>
        <a:p>
          <a:endParaRPr lang="en-GB" sz="2000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8CB2BAA1-98E3-4649-A43C-DFF4FD76E75F}" type="pres">
      <dgm:prSet presAssocID="{012CEA51-7305-48A0-AF33-E67B6539B7AE}" presName="composite" presStyleCnt="0"/>
      <dgm:spPr/>
    </dgm:pt>
    <dgm:pt modelId="{1DE9332B-C20E-4633-995B-D281F5209CC6}" type="pres">
      <dgm:prSet presAssocID="{012CEA51-7305-48A0-AF33-E67B6539B7AE}" presName="imgShp" presStyleLbl="fgImgPlace1" presStyleIdx="0" presStyleCnt="2" custScaleX="77442" custScaleY="80766" custLinFactNeighborX="-13415" custLinFactNeighborY="-3190"/>
      <dgm:spPr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231C5DC9-3B94-4233-B75F-2F187107BF74}" type="pres">
      <dgm:prSet presAssocID="{012CEA51-7305-48A0-AF33-E67B6539B7AE}" presName="txShp" presStyleLbl="node1" presStyleIdx="0" presStyleCnt="2" custScaleX="134772" custScaleY="88442" custLinFactNeighborX="6286" custLinFactNeighborY="-1136">
        <dgm:presLayoutVars>
          <dgm:bulletEnabled val="1"/>
        </dgm:presLayoutVars>
      </dgm:prSet>
      <dgm:spPr/>
    </dgm:pt>
    <dgm:pt modelId="{70B92CBE-4037-4CD5-B7CC-58B097DEE005}" type="pres">
      <dgm:prSet presAssocID="{D9223FFA-252B-4506-8B97-F603CD3B4F50}" presName="spacing" presStyleCnt="0"/>
      <dgm:spPr/>
    </dgm:pt>
    <dgm:pt modelId="{F7CAEC25-ABBA-4257-AE31-DCB9097CE404}" type="pres">
      <dgm:prSet presAssocID="{E7405B8F-AD5C-414B-90B3-CCD5F1A99E1D}" presName="composite" presStyleCnt="0"/>
      <dgm:spPr/>
    </dgm:pt>
    <dgm:pt modelId="{E2505A97-C61F-4AEC-B7CB-0B33D74D0143}" type="pres">
      <dgm:prSet presAssocID="{E7405B8F-AD5C-414B-90B3-CCD5F1A99E1D}" presName="imgShp" presStyleLbl="fgImgPlace1" presStyleIdx="1" presStyleCnt="2" custScaleX="72732" custScaleY="74477" custLinFactNeighborX="-7946" custLinFactNeighborY="106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EA6993E9-8266-46BC-B04C-904098557E8E}" type="pres">
      <dgm:prSet presAssocID="{E7405B8F-AD5C-414B-90B3-CCD5F1A99E1D}" presName="txShp" presStyleLbl="node1" presStyleIdx="1" presStyleCnt="2" custScaleX="134772" custScaleY="85421" custLinFactNeighborX="7804">
        <dgm:presLayoutVars>
          <dgm:bulletEnabled val="1"/>
        </dgm:presLayoutVars>
      </dgm:prSet>
      <dgm:spPr/>
    </dgm:pt>
  </dgm:ptLst>
  <dgm:cxnLst>
    <dgm:cxn modelId="{BA97491B-EFCD-48AC-8CD8-E16EC13B8A18}" srcId="{10FFE8D9-2523-4D21-B683-665DC183BD34}" destId="{012CEA51-7305-48A0-AF33-E67B6539B7AE}" srcOrd="0" destOrd="0" parTransId="{ACE82B28-7AF3-4CAB-9823-DA86418B60AC}" sibTransId="{D9223FFA-252B-4506-8B97-F603CD3B4F50}"/>
    <dgm:cxn modelId="{1FF52E27-E43A-4254-86C1-FA108D9BF24F}" srcId="{10FFE8D9-2523-4D21-B683-665DC183BD34}" destId="{E7405B8F-AD5C-414B-90B3-CCD5F1A99E1D}" srcOrd="1" destOrd="0" parTransId="{6748EC12-2114-4DE6-ADD3-8CBBA0FF7104}" sibTransId="{DFBD3D8C-3E06-43B0-9E98-EC52E77CBF3B}"/>
    <dgm:cxn modelId="{402B8173-7056-4CF7-94F9-0C70B228B889}" type="presOf" srcId="{012CEA51-7305-48A0-AF33-E67B6539B7AE}" destId="{231C5DC9-3B94-4233-B75F-2F187107BF74}" srcOrd="0" destOrd="0" presId="urn:microsoft.com/office/officeart/2005/8/layout/vList3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E3B825F5-CAB8-4235-A0B0-2A5C19F8761C}" type="presOf" srcId="{E7405B8F-AD5C-414B-90B3-CCD5F1A99E1D}" destId="{EA6993E9-8266-46BC-B04C-904098557E8E}" srcOrd="0" destOrd="0" presId="urn:microsoft.com/office/officeart/2005/8/layout/vList3"/>
    <dgm:cxn modelId="{45D7A004-B02F-4D19-84DE-1938FC30CA28}" type="presParOf" srcId="{F62C43F7-0315-498D-9E30-10F0A0B9BBD9}" destId="{8CB2BAA1-98E3-4649-A43C-DFF4FD76E75F}" srcOrd="0" destOrd="0" presId="urn:microsoft.com/office/officeart/2005/8/layout/vList3"/>
    <dgm:cxn modelId="{D9EC8B32-1D57-4AEB-8146-4479C7843D6F}" type="presParOf" srcId="{8CB2BAA1-98E3-4649-A43C-DFF4FD76E75F}" destId="{1DE9332B-C20E-4633-995B-D281F5209CC6}" srcOrd="0" destOrd="0" presId="urn:microsoft.com/office/officeart/2005/8/layout/vList3"/>
    <dgm:cxn modelId="{577DACD3-480F-4781-B7FA-92B721B469F0}" type="presParOf" srcId="{8CB2BAA1-98E3-4649-A43C-DFF4FD76E75F}" destId="{231C5DC9-3B94-4233-B75F-2F187107BF74}" srcOrd="1" destOrd="0" presId="urn:microsoft.com/office/officeart/2005/8/layout/vList3"/>
    <dgm:cxn modelId="{EA04B5EB-B11F-479E-8200-1FA195882ADE}" type="presParOf" srcId="{F62C43F7-0315-498D-9E30-10F0A0B9BBD9}" destId="{70B92CBE-4037-4CD5-B7CC-58B097DEE005}" srcOrd="1" destOrd="0" presId="urn:microsoft.com/office/officeart/2005/8/layout/vList3"/>
    <dgm:cxn modelId="{11377740-8E43-42A8-A96F-618BC077FE5F}" type="presParOf" srcId="{F62C43F7-0315-498D-9E30-10F0A0B9BBD9}" destId="{F7CAEC25-ABBA-4257-AE31-DCB9097CE404}" srcOrd="2" destOrd="0" presId="urn:microsoft.com/office/officeart/2005/8/layout/vList3"/>
    <dgm:cxn modelId="{554BF879-E317-41FE-B990-EC2A9E701036}" type="presParOf" srcId="{F7CAEC25-ABBA-4257-AE31-DCB9097CE404}" destId="{E2505A97-C61F-4AEC-B7CB-0B33D74D0143}" srcOrd="0" destOrd="0" presId="urn:microsoft.com/office/officeart/2005/8/layout/vList3"/>
    <dgm:cxn modelId="{5F59B758-C728-4B7E-AFFE-0467ABA8B837}" type="presParOf" srcId="{F7CAEC25-ABBA-4257-AE31-DCB9097CE404}" destId="{EA6993E9-8266-46BC-B04C-904098557E8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IN"/>
        </a:p>
      </dgm:t>
    </dgm:pt>
    <dgm:pt modelId="{E7405B8F-AD5C-414B-90B3-CCD5F1A99E1D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algn="l"/>
          <a:r>
            <a:rPr lang="en-US" sz="1300" b="1" kern="1200" dirty="0">
              <a:solidFill>
                <a:schemeClr val="accent2">
                  <a:lumMod val="50000"/>
                </a:schemeClr>
              </a:solidFill>
            </a:rPr>
            <a:t>LEVERAGING DIGITAL DATA SYSTEMS </a:t>
          </a:r>
          <a:endParaRPr lang="en-US" sz="1300" b="1" kern="1200" dirty="0"/>
        </a:p>
        <a:p>
          <a:pPr algn="l"/>
          <a:r>
            <a:rPr lang="en-US" sz="1300" b="1" kern="1200" dirty="0">
              <a:solidFill>
                <a:schemeClr val="accent2">
                  <a:lumMod val="50000"/>
                </a:schemeClr>
              </a:solidFill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Indonesia</a:t>
          </a:r>
          <a:r>
            <a:rPr lang="en-US" sz="1300" b="1" kern="1200" dirty="0"/>
            <a:t>:</a:t>
          </a:r>
          <a:r>
            <a:rPr lang="en-US" sz="1300" kern="1200" dirty="0"/>
            <a:t> the digital home-based immunization record, the </a:t>
          </a:r>
          <a:r>
            <a:rPr lang="en-US" sz="1300" kern="1200" dirty="0" err="1"/>
            <a:t>PeduliLindungi</a:t>
          </a:r>
          <a:r>
            <a:rPr lang="en-US" sz="1300" kern="1200" dirty="0"/>
            <a:t> app, is currently used as individual COVID-19 vaccination registry but will be expanded to include all essential vaccination.</a:t>
          </a:r>
          <a:endParaRPr lang="en-GB" sz="1300" b="0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</dgm:t>
    </dgm:pt>
    <dgm:pt modelId="{6748EC12-2114-4DE6-ADD3-8CBBA0FF7104}" type="parTrans" cxnId="{1FF52E27-E43A-4254-86C1-FA108D9BF24F}">
      <dgm:prSet/>
      <dgm:spPr/>
      <dgm:t>
        <a:bodyPr/>
        <a:lstStyle/>
        <a:p>
          <a:endParaRPr lang="en-GB" sz="2000">
            <a:solidFill>
              <a:schemeClr val="accent1"/>
            </a:solidFill>
          </a:endParaRPr>
        </a:p>
      </dgm:t>
    </dgm:pt>
    <dgm:pt modelId="{DFBD3D8C-3E06-43B0-9E98-EC52E77CBF3B}" type="sibTrans" cxnId="{1FF52E27-E43A-4254-86C1-FA108D9BF24F}">
      <dgm:prSet/>
      <dgm:spPr/>
      <dgm:t>
        <a:bodyPr/>
        <a:lstStyle/>
        <a:p>
          <a:endParaRPr lang="en-GB" sz="2000">
            <a:solidFill>
              <a:schemeClr val="accent1"/>
            </a:solidFill>
          </a:endParaRPr>
        </a:p>
      </dgm:t>
    </dgm:pt>
    <dgm:pt modelId="{52D9B8AF-FFF4-4736-85FB-1C4756CA9572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algn="l"/>
          <a:r>
            <a:rPr lang="en-GB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ENHANCING SAFETY SURVEILLANCE CAPACITY</a:t>
          </a:r>
        </a:p>
        <a:p>
          <a:pPr algn="l"/>
          <a:r>
            <a:rPr lang="en-US" sz="1300" b="1" kern="1200" dirty="0">
              <a:solidFill>
                <a:schemeClr val="accent2">
                  <a:lumMod val="50000"/>
                </a:schemeClr>
              </a:solidFill>
            </a:rPr>
            <a:t>Philippines</a:t>
          </a:r>
          <a:r>
            <a:rPr lang="en-US" sz="1300" kern="1200" dirty="0"/>
            <a:t> enhanced AEFI surveillance, and the structure and function of expertise of regional AEFI committee and national AEFI committee to conduct causality assessments using the opportunity of COVID-19 vaccination.</a:t>
          </a:r>
          <a:endParaRPr lang="en-GB" sz="1300" kern="1200" dirty="0">
            <a:solidFill>
              <a:schemeClr val="accent1"/>
            </a:solidFill>
          </a:endParaRPr>
        </a:p>
      </dgm:t>
    </dgm:pt>
    <dgm:pt modelId="{9850A410-9A4F-4903-8C04-B681A6C60DAE}" type="sibTrans" cxnId="{B1FA6BB3-6B2E-4EB6-BFA9-B0C9C4C0794D}">
      <dgm:prSet/>
      <dgm:spPr/>
      <dgm:t>
        <a:bodyPr/>
        <a:lstStyle/>
        <a:p>
          <a:endParaRPr lang="en-GB" sz="2000">
            <a:solidFill>
              <a:schemeClr val="accent1"/>
            </a:solidFill>
          </a:endParaRPr>
        </a:p>
      </dgm:t>
    </dgm:pt>
    <dgm:pt modelId="{75026698-B741-4139-AA29-AC5951E6AC9C}" type="parTrans" cxnId="{B1FA6BB3-6B2E-4EB6-BFA9-B0C9C4C0794D}">
      <dgm:prSet/>
      <dgm:spPr/>
      <dgm:t>
        <a:bodyPr/>
        <a:lstStyle/>
        <a:p>
          <a:endParaRPr lang="en-GB" sz="2000">
            <a:solidFill>
              <a:schemeClr val="accent1"/>
            </a:solidFill>
          </a:endParaRPr>
        </a:p>
      </dgm:t>
    </dgm:pt>
    <dgm:pt modelId="{012CEA51-7305-48A0-AF33-E67B6539B7AE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algn="l"/>
          <a:r>
            <a:rPr lang="en-US" sz="1300" dirty="0">
              <a:solidFill>
                <a:schemeClr val="accent1"/>
              </a:solidFill>
            </a:rPr>
            <a:t>​</a:t>
          </a:r>
          <a:r>
            <a:rPr lang="en-US" sz="1300" b="1" dirty="0">
              <a:solidFill>
                <a:schemeClr val="accent2">
                  <a:lumMod val="50000"/>
                </a:schemeClr>
              </a:solidFill>
            </a:rPr>
            <a:t>LEVERAGING DIGITAL DATA SYSTEMS </a:t>
          </a:r>
        </a:p>
        <a:p>
          <a:pPr algn="l"/>
          <a:r>
            <a:rPr lang="en-US" sz="1300" b="1" dirty="0">
              <a:solidFill>
                <a:schemeClr val="accent2">
                  <a:lumMod val="50000"/>
                </a:schemeClr>
              </a:solidFill>
            </a:rPr>
            <a:t>Lao People’s Democratic Republic </a:t>
          </a:r>
          <a:r>
            <a:rPr lang="en-US" sz="1300" b="0" dirty="0"/>
            <a:t>will leverage</a:t>
          </a:r>
          <a:r>
            <a:rPr lang="en-US" sz="1300" b="1" dirty="0"/>
            <a:t> </a:t>
          </a:r>
          <a:r>
            <a:rPr lang="en-US" sz="1300" dirty="0"/>
            <a:t>The COVID-19 Vaccination Registry (CVR), based on the DHIS2 software module, to establish an electronic registry for essential immunization. </a:t>
          </a:r>
          <a:endParaRPr lang="en-GB" sz="1300" b="0" dirty="0">
            <a:solidFill>
              <a:schemeClr val="accent2">
                <a:lumMod val="50000"/>
              </a:schemeClr>
            </a:solidFill>
          </a:endParaRPr>
        </a:p>
      </dgm:t>
    </dgm:pt>
    <dgm:pt modelId="{D9223FFA-252B-4506-8B97-F603CD3B4F50}" type="sibTrans" cxnId="{BA97491B-EFCD-48AC-8CD8-E16EC13B8A18}">
      <dgm:prSet/>
      <dgm:spPr/>
      <dgm:t>
        <a:bodyPr/>
        <a:lstStyle/>
        <a:p>
          <a:endParaRPr lang="en-GB" sz="2000">
            <a:solidFill>
              <a:schemeClr val="accent1"/>
            </a:solidFill>
          </a:endParaRPr>
        </a:p>
      </dgm:t>
    </dgm:pt>
    <dgm:pt modelId="{ACE82B28-7AF3-4CAB-9823-DA86418B60AC}" type="parTrans" cxnId="{BA97491B-EFCD-48AC-8CD8-E16EC13B8A18}">
      <dgm:prSet/>
      <dgm:spPr/>
      <dgm:t>
        <a:bodyPr/>
        <a:lstStyle/>
        <a:p>
          <a:endParaRPr lang="en-GB" sz="2000">
            <a:solidFill>
              <a:schemeClr val="accent1"/>
            </a:solidFill>
          </a:endParaRPr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8CB2BAA1-98E3-4649-A43C-DFF4FD76E75F}" type="pres">
      <dgm:prSet presAssocID="{012CEA51-7305-48A0-AF33-E67B6539B7AE}" presName="composite" presStyleCnt="0"/>
      <dgm:spPr/>
    </dgm:pt>
    <dgm:pt modelId="{1DE9332B-C20E-4633-995B-D281F5209CC6}" type="pres">
      <dgm:prSet presAssocID="{012CEA51-7305-48A0-AF33-E67B6539B7AE}" presName="imgShp" presStyleLbl="fgImgPlace1" presStyleIdx="0" presStyleCnt="3" custScaleX="88365" custScaleY="90660" custLinFactNeighborX="-42662" custLinFactNeighborY="711"/>
      <dgm:spPr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7000" r="-27000"/>
          </a:stretch>
        </a:blipFill>
      </dgm:spPr>
    </dgm:pt>
    <dgm:pt modelId="{231C5DC9-3B94-4233-B75F-2F187107BF74}" type="pres">
      <dgm:prSet presAssocID="{012CEA51-7305-48A0-AF33-E67B6539B7AE}" presName="txShp" presStyleLbl="node1" presStyleIdx="0" presStyleCnt="3" custScaleX="134289">
        <dgm:presLayoutVars>
          <dgm:bulletEnabled val="1"/>
        </dgm:presLayoutVars>
      </dgm:prSet>
      <dgm:spPr/>
    </dgm:pt>
    <dgm:pt modelId="{70B92CBE-4037-4CD5-B7CC-58B097DEE005}" type="pres">
      <dgm:prSet presAssocID="{D9223FFA-252B-4506-8B97-F603CD3B4F50}" presName="spacing" presStyleCnt="0"/>
      <dgm:spPr/>
    </dgm:pt>
    <dgm:pt modelId="{F7CAEC25-ABBA-4257-AE31-DCB9097CE404}" type="pres">
      <dgm:prSet presAssocID="{E7405B8F-AD5C-414B-90B3-CCD5F1A99E1D}" presName="composite" presStyleCnt="0"/>
      <dgm:spPr/>
    </dgm:pt>
    <dgm:pt modelId="{E2505A97-C61F-4AEC-B7CB-0B33D74D0143}" type="pres">
      <dgm:prSet presAssocID="{E7405B8F-AD5C-414B-90B3-CCD5F1A99E1D}" presName="imgShp" presStyleLbl="fgImgPlace1" presStyleIdx="1" presStyleCnt="3" custScaleX="88365" custScaleY="90660" custLinFactNeighborX="-42662" custLinFactNeighborY="711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EA6993E9-8266-46BC-B04C-904098557E8E}" type="pres">
      <dgm:prSet presAssocID="{E7405B8F-AD5C-414B-90B3-CCD5F1A99E1D}" presName="txShp" presStyleLbl="node1" presStyleIdx="1" presStyleCnt="3" custScaleX="134289">
        <dgm:presLayoutVars>
          <dgm:bulletEnabled val="1"/>
        </dgm:presLayoutVars>
      </dgm:prSet>
      <dgm:spPr/>
    </dgm:pt>
    <dgm:pt modelId="{344FB807-38F7-4CAD-A959-A5FCA83223F5}" type="pres">
      <dgm:prSet presAssocID="{DFBD3D8C-3E06-43B0-9E98-EC52E77CBF3B}" presName="spacing" presStyleCnt="0"/>
      <dgm:spPr/>
    </dgm:pt>
    <dgm:pt modelId="{DBB293B0-0168-46BD-842A-D77AAC5452EF}" type="pres">
      <dgm:prSet presAssocID="{52D9B8AF-FFF4-4736-85FB-1C4756CA9572}" presName="composite" presStyleCnt="0"/>
      <dgm:spPr/>
    </dgm:pt>
    <dgm:pt modelId="{2B8815EE-8E16-4B94-9A43-582FDABEA376}" type="pres">
      <dgm:prSet presAssocID="{52D9B8AF-FFF4-4736-85FB-1C4756CA9572}" presName="imgShp" presStyleLbl="fgImgPlace1" presStyleIdx="2" presStyleCnt="3" custScaleX="88365" custScaleY="90660" custLinFactNeighborX="-29043" custLinFactNeighborY="69"/>
      <dgm:spPr>
        <a:blipFill rotWithShape="1"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</dgm:pt>
    <dgm:pt modelId="{8B7D3A15-85F3-4171-96D0-9BED0914AB08}" type="pres">
      <dgm:prSet presAssocID="{52D9B8AF-FFF4-4736-85FB-1C4756CA9572}" presName="txShp" presStyleLbl="node1" presStyleIdx="2" presStyleCnt="3" custScaleX="134289">
        <dgm:presLayoutVars>
          <dgm:bulletEnabled val="1"/>
        </dgm:presLayoutVars>
      </dgm:prSet>
      <dgm:spPr/>
    </dgm:pt>
  </dgm:ptLst>
  <dgm:cxnLst>
    <dgm:cxn modelId="{BA97491B-EFCD-48AC-8CD8-E16EC13B8A18}" srcId="{10FFE8D9-2523-4D21-B683-665DC183BD34}" destId="{012CEA51-7305-48A0-AF33-E67B6539B7AE}" srcOrd="0" destOrd="0" parTransId="{ACE82B28-7AF3-4CAB-9823-DA86418B60AC}" sibTransId="{D9223FFA-252B-4506-8B97-F603CD3B4F50}"/>
    <dgm:cxn modelId="{CB5C7B1B-768F-4E1A-A415-4B0428C17640}" type="presOf" srcId="{52D9B8AF-FFF4-4736-85FB-1C4756CA9572}" destId="{8B7D3A15-85F3-4171-96D0-9BED0914AB08}" srcOrd="0" destOrd="0" presId="urn:microsoft.com/office/officeart/2005/8/layout/vList3"/>
    <dgm:cxn modelId="{1FF52E27-E43A-4254-86C1-FA108D9BF24F}" srcId="{10FFE8D9-2523-4D21-B683-665DC183BD34}" destId="{E7405B8F-AD5C-414B-90B3-CCD5F1A99E1D}" srcOrd="1" destOrd="0" parTransId="{6748EC12-2114-4DE6-ADD3-8CBBA0FF7104}" sibTransId="{DFBD3D8C-3E06-43B0-9E98-EC52E77CBF3B}"/>
    <dgm:cxn modelId="{402B8173-7056-4CF7-94F9-0C70B228B889}" type="presOf" srcId="{012CEA51-7305-48A0-AF33-E67B6539B7AE}" destId="{231C5DC9-3B94-4233-B75F-2F187107BF74}" srcOrd="0" destOrd="0" presId="urn:microsoft.com/office/officeart/2005/8/layout/vList3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B1FA6BB3-6B2E-4EB6-BFA9-B0C9C4C0794D}" srcId="{10FFE8D9-2523-4D21-B683-665DC183BD34}" destId="{52D9B8AF-FFF4-4736-85FB-1C4756CA9572}" srcOrd="2" destOrd="0" parTransId="{75026698-B741-4139-AA29-AC5951E6AC9C}" sibTransId="{9850A410-9A4F-4903-8C04-B681A6C60DAE}"/>
    <dgm:cxn modelId="{E3B825F5-CAB8-4235-A0B0-2A5C19F8761C}" type="presOf" srcId="{E7405B8F-AD5C-414B-90B3-CCD5F1A99E1D}" destId="{EA6993E9-8266-46BC-B04C-904098557E8E}" srcOrd="0" destOrd="0" presId="urn:microsoft.com/office/officeart/2005/8/layout/vList3"/>
    <dgm:cxn modelId="{45D7A004-B02F-4D19-84DE-1938FC30CA28}" type="presParOf" srcId="{F62C43F7-0315-498D-9E30-10F0A0B9BBD9}" destId="{8CB2BAA1-98E3-4649-A43C-DFF4FD76E75F}" srcOrd="0" destOrd="0" presId="urn:microsoft.com/office/officeart/2005/8/layout/vList3"/>
    <dgm:cxn modelId="{D9EC8B32-1D57-4AEB-8146-4479C7843D6F}" type="presParOf" srcId="{8CB2BAA1-98E3-4649-A43C-DFF4FD76E75F}" destId="{1DE9332B-C20E-4633-995B-D281F5209CC6}" srcOrd="0" destOrd="0" presId="urn:microsoft.com/office/officeart/2005/8/layout/vList3"/>
    <dgm:cxn modelId="{577DACD3-480F-4781-B7FA-92B721B469F0}" type="presParOf" srcId="{8CB2BAA1-98E3-4649-A43C-DFF4FD76E75F}" destId="{231C5DC9-3B94-4233-B75F-2F187107BF74}" srcOrd="1" destOrd="0" presId="urn:microsoft.com/office/officeart/2005/8/layout/vList3"/>
    <dgm:cxn modelId="{EA04B5EB-B11F-479E-8200-1FA195882ADE}" type="presParOf" srcId="{F62C43F7-0315-498D-9E30-10F0A0B9BBD9}" destId="{70B92CBE-4037-4CD5-B7CC-58B097DEE005}" srcOrd="1" destOrd="0" presId="urn:microsoft.com/office/officeart/2005/8/layout/vList3"/>
    <dgm:cxn modelId="{11377740-8E43-42A8-A96F-618BC077FE5F}" type="presParOf" srcId="{F62C43F7-0315-498D-9E30-10F0A0B9BBD9}" destId="{F7CAEC25-ABBA-4257-AE31-DCB9097CE404}" srcOrd="2" destOrd="0" presId="urn:microsoft.com/office/officeart/2005/8/layout/vList3"/>
    <dgm:cxn modelId="{554BF879-E317-41FE-B990-EC2A9E701036}" type="presParOf" srcId="{F7CAEC25-ABBA-4257-AE31-DCB9097CE404}" destId="{E2505A97-C61F-4AEC-B7CB-0B33D74D0143}" srcOrd="0" destOrd="0" presId="urn:microsoft.com/office/officeart/2005/8/layout/vList3"/>
    <dgm:cxn modelId="{5F59B758-C728-4B7E-AFFE-0467ABA8B837}" type="presParOf" srcId="{F7CAEC25-ABBA-4257-AE31-DCB9097CE404}" destId="{EA6993E9-8266-46BC-B04C-904098557E8E}" srcOrd="1" destOrd="0" presId="urn:microsoft.com/office/officeart/2005/8/layout/vList3"/>
    <dgm:cxn modelId="{466829AA-A86E-4C8E-A482-262C13FBFCD9}" type="presParOf" srcId="{F62C43F7-0315-498D-9E30-10F0A0B9BBD9}" destId="{344FB807-38F7-4CAD-A959-A5FCA83223F5}" srcOrd="3" destOrd="0" presId="urn:microsoft.com/office/officeart/2005/8/layout/vList3"/>
    <dgm:cxn modelId="{E92781BE-15A8-486E-9A8E-DD7D7F462619}" type="presParOf" srcId="{F62C43F7-0315-498D-9E30-10F0A0B9BBD9}" destId="{DBB293B0-0168-46BD-842A-D77AAC5452EF}" srcOrd="4" destOrd="0" presId="urn:microsoft.com/office/officeart/2005/8/layout/vList3"/>
    <dgm:cxn modelId="{284460FB-F3AD-4DAD-A5DA-0F48D34DE1BF}" type="presParOf" srcId="{DBB293B0-0168-46BD-842A-D77AAC5452EF}" destId="{2B8815EE-8E16-4B94-9A43-582FDABEA376}" srcOrd="0" destOrd="0" presId="urn:microsoft.com/office/officeart/2005/8/layout/vList3"/>
    <dgm:cxn modelId="{243C0792-1473-4594-8888-9FB859B2F298}" type="presParOf" srcId="{DBB293B0-0168-46BD-842A-D77AAC5452EF}" destId="{8B7D3A15-85F3-4171-96D0-9BED0914AB0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2_2" csCatId="accent2" phldr="1"/>
      <dgm:spPr/>
    </dgm:pt>
    <dgm:pt modelId="{012CEA51-7305-48A0-AF33-E67B6539B7AE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2">
                  <a:lumMod val="50000"/>
                </a:schemeClr>
              </a:solidFill>
            </a:rPr>
            <a:t>LEVERAGING DIGITAL DATA SYSTEM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2">
                  <a:lumMod val="50000"/>
                </a:schemeClr>
              </a:solidFill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India</a:t>
          </a:r>
          <a:r>
            <a:rPr lang="en-US" sz="1300" b="1" kern="1200" dirty="0"/>
            <a:t> </a:t>
          </a:r>
          <a:r>
            <a:rPr lang="en-US" sz="1300" b="0" kern="1200" dirty="0"/>
            <a:t>plans to expand the use of a</a:t>
          </a:r>
          <a:r>
            <a:rPr lang="en-US" sz="1300" kern="1200" dirty="0"/>
            <a:t>n electronic registration system (CoWIN) for COVID-19 vaccination to register priority groups, schedule appointments, generate vaccination certificates and monitor AEFIs to include all essential immunization</a:t>
          </a:r>
          <a:endParaRPr lang="en-GB" sz="1300" b="0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</dgm:t>
    </dgm:pt>
    <dgm:pt modelId="{ACE82B28-7AF3-4CAB-9823-DA86418B60AC}" type="parTrans" cxnId="{BA97491B-EFCD-48AC-8CD8-E16EC13B8A18}">
      <dgm:prSet/>
      <dgm:spPr/>
      <dgm:t>
        <a:bodyPr/>
        <a:lstStyle/>
        <a:p>
          <a:endParaRPr lang="en-GB" sz="2000">
            <a:solidFill>
              <a:schemeClr val="accent1"/>
            </a:solidFill>
          </a:endParaRPr>
        </a:p>
      </dgm:t>
    </dgm:pt>
    <dgm:pt modelId="{D9223FFA-252B-4506-8B97-F603CD3B4F50}" type="sibTrans" cxnId="{BA97491B-EFCD-48AC-8CD8-E16EC13B8A18}">
      <dgm:prSet/>
      <dgm:spPr/>
      <dgm:t>
        <a:bodyPr/>
        <a:lstStyle/>
        <a:p>
          <a:endParaRPr lang="en-GB" sz="2000">
            <a:solidFill>
              <a:schemeClr val="accent1"/>
            </a:solidFill>
          </a:endParaRPr>
        </a:p>
      </dgm:t>
    </dgm:pt>
    <dgm:pt modelId="{E7405B8F-AD5C-414B-90B3-CCD5F1A99E1D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algn="l"/>
          <a:r>
            <a:rPr lang="en-GB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ING COVID-19 AND VPD SURVEILLANCE</a:t>
          </a:r>
        </a:p>
        <a:p>
          <a:pPr algn="l"/>
          <a:r>
            <a:rPr lang="en-US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Timor-Leste</a:t>
          </a:r>
          <a:r>
            <a:rPr lang="en-US" sz="1300" b="1" kern="1200" dirty="0"/>
            <a:t> </a:t>
          </a:r>
          <a:r>
            <a:rPr lang="en-US" sz="1300" b="0" kern="1200" dirty="0"/>
            <a:t>is</a:t>
          </a:r>
          <a:r>
            <a:rPr lang="en-US" sz="1300" b="1" kern="1200" dirty="0"/>
            <a:t> </a:t>
          </a:r>
          <a:r>
            <a:rPr lang="en-US" sz="1300" kern="1200" dirty="0">
              <a:solidFill>
                <a:srgbClr val="000000"/>
              </a:solidFill>
              <a:latin typeface="Arial"/>
              <a:ea typeface="+mn-ea"/>
              <a:cs typeface="+mn-cs"/>
            </a:rPr>
            <a:t>pla</a:t>
          </a:r>
          <a:r>
            <a:rPr lang="en-US" sz="1300" kern="1200" dirty="0"/>
            <a:t>nning to integrate COVID-19 and VPD surveillance programmes within a comprehensive surveillance </a:t>
          </a:r>
          <a:r>
            <a:rPr lang="en-US" sz="1300" kern="1200" dirty="0" err="1"/>
            <a:t>programme</a:t>
          </a:r>
          <a:r>
            <a:rPr lang="en-US" sz="1300" kern="1200" dirty="0"/>
            <a:t>.</a:t>
          </a:r>
          <a:r>
            <a:rPr lang="en-GB" sz="1300" kern="1200" dirty="0">
              <a:solidFill>
                <a:schemeClr val="accent1"/>
              </a:solidFill>
            </a:rPr>
            <a:t>								</a:t>
          </a:r>
        </a:p>
      </dgm:t>
    </dgm:pt>
    <dgm:pt modelId="{6748EC12-2114-4DE6-ADD3-8CBBA0FF7104}" type="parTrans" cxnId="{1FF52E27-E43A-4254-86C1-FA108D9BF24F}">
      <dgm:prSet/>
      <dgm:spPr/>
      <dgm:t>
        <a:bodyPr/>
        <a:lstStyle/>
        <a:p>
          <a:endParaRPr lang="en-GB" sz="2000">
            <a:solidFill>
              <a:schemeClr val="accent1"/>
            </a:solidFill>
          </a:endParaRPr>
        </a:p>
      </dgm:t>
    </dgm:pt>
    <dgm:pt modelId="{DFBD3D8C-3E06-43B0-9E98-EC52E77CBF3B}" type="sibTrans" cxnId="{1FF52E27-E43A-4254-86C1-FA108D9BF24F}">
      <dgm:prSet/>
      <dgm:spPr/>
      <dgm:t>
        <a:bodyPr/>
        <a:lstStyle/>
        <a:p>
          <a:endParaRPr lang="en-GB" sz="2000">
            <a:solidFill>
              <a:schemeClr val="accent1"/>
            </a:solidFill>
          </a:endParaRPr>
        </a:p>
      </dgm:t>
    </dgm:pt>
    <dgm:pt modelId="{52D9B8AF-FFF4-4736-85FB-1C4756CA9572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COMPLIANCE WITH VACCINE SAFETY STANDARDS</a:t>
          </a:r>
        </a:p>
        <a:p>
          <a:pPr marL="0"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2">
                  <a:lumMod val="50000"/>
                </a:schemeClr>
              </a:solidFill>
            </a:rPr>
            <a:t>Bolivia</a:t>
          </a:r>
          <a:r>
            <a:rPr lang="en-US" sz="1300" b="1" kern="1200" dirty="0"/>
            <a:t> </a:t>
          </a:r>
          <a:r>
            <a:rPr lang="en-US" sz="1300" b="0" kern="1200" dirty="0"/>
            <a:t>e</a:t>
          </a:r>
          <a:r>
            <a:rPr lang="en-US" sz="1300" kern="1200" dirty="0"/>
            <a:t>stablished mass COVID-19 vaccination campaign sites complying with AEFI technical standards for prevention and care that can be reproduced for other mass vaccination campaigns.</a:t>
          </a:r>
          <a:endParaRPr lang="en-GB" sz="1300" kern="1200" dirty="0">
            <a:solidFill>
              <a:schemeClr val="accent1"/>
            </a:solidFill>
          </a:endParaRPr>
        </a:p>
      </dgm:t>
    </dgm:pt>
    <dgm:pt modelId="{75026698-B741-4139-AA29-AC5951E6AC9C}" type="parTrans" cxnId="{B1FA6BB3-6B2E-4EB6-BFA9-B0C9C4C0794D}">
      <dgm:prSet/>
      <dgm:spPr/>
      <dgm:t>
        <a:bodyPr/>
        <a:lstStyle/>
        <a:p>
          <a:endParaRPr lang="en-GB" sz="2000">
            <a:solidFill>
              <a:schemeClr val="accent1"/>
            </a:solidFill>
          </a:endParaRPr>
        </a:p>
      </dgm:t>
    </dgm:pt>
    <dgm:pt modelId="{9850A410-9A4F-4903-8C04-B681A6C60DAE}" type="sibTrans" cxnId="{B1FA6BB3-6B2E-4EB6-BFA9-B0C9C4C0794D}">
      <dgm:prSet/>
      <dgm:spPr/>
      <dgm:t>
        <a:bodyPr/>
        <a:lstStyle/>
        <a:p>
          <a:endParaRPr lang="en-GB" sz="2000">
            <a:solidFill>
              <a:schemeClr val="accent1"/>
            </a:solidFill>
          </a:endParaRPr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8CB2BAA1-98E3-4649-A43C-DFF4FD76E75F}" type="pres">
      <dgm:prSet presAssocID="{012CEA51-7305-48A0-AF33-E67B6539B7AE}" presName="composite" presStyleCnt="0"/>
      <dgm:spPr/>
    </dgm:pt>
    <dgm:pt modelId="{1DE9332B-C20E-4633-995B-D281F5209CC6}" type="pres">
      <dgm:prSet presAssocID="{012CEA51-7305-48A0-AF33-E67B6539B7AE}" presName="imgShp" presStyleLbl="fgImgPlace1" presStyleIdx="0" presStyleCnt="3" custLinFactNeighborX="-42662" custLinFactNeighborY="711"/>
      <dgm:spPr>
        <a:blipFill rotWithShape="1">
          <a:blip xmlns:r="http://schemas.openxmlformats.org/officeDocument/2006/relationships" r:embed="rId2"/>
          <a:srcRect/>
          <a:stretch>
            <a:fillRect/>
          </a:stretch>
        </a:blipFill>
      </dgm:spPr>
    </dgm:pt>
    <dgm:pt modelId="{231C5DC9-3B94-4233-B75F-2F187107BF74}" type="pres">
      <dgm:prSet presAssocID="{012CEA51-7305-48A0-AF33-E67B6539B7AE}" presName="txShp" presStyleLbl="node1" presStyleIdx="0" presStyleCnt="3" custScaleX="127501" custLinFactNeighborX="5084" custLinFactNeighborY="-69">
        <dgm:presLayoutVars>
          <dgm:bulletEnabled val="1"/>
        </dgm:presLayoutVars>
      </dgm:prSet>
      <dgm:spPr/>
    </dgm:pt>
    <dgm:pt modelId="{70B92CBE-4037-4CD5-B7CC-58B097DEE005}" type="pres">
      <dgm:prSet presAssocID="{D9223FFA-252B-4506-8B97-F603CD3B4F50}" presName="spacing" presStyleCnt="0"/>
      <dgm:spPr/>
    </dgm:pt>
    <dgm:pt modelId="{F7CAEC25-ABBA-4257-AE31-DCB9097CE404}" type="pres">
      <dgm:prSet presAssocID="{E7405B8F-AD5C-414B-90B3-CCD5F1A99E1D}" presName="composite" presStyleCnt="0"/>
      <dgm:spPr/>
    </dgm:pt>
    <dgm:pt modelId="{E2505A97-C61F-4AEC-B7CB-0B33D74D0143}" type="pres">
      <dgm:prSet presAssocID="{E7405B8F-AD5C-414B-90B3-CCD5F1A99E1D}" presName="imgShp" presStyleLbl="fgImgPlace1" presStyleIdx="1" presStyleCnt="3" custLinFactNeighborX="-42662" custLinFactNeighborY="711"/>
      <dgm:spPr>
        <a:blipFill rotWithShape="1">
          <a:blip xmlns:r="http://schemas.openxmlformats.org/officeDocument/2006/relationships"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EA6993E9-8266-46BC-B04C-904098557E8E}" type="pres">
      <dgm:prSet presAssocID="{E7405B8F-AD5C-414B-90B3-CCD5F1A99E1D}" presName="txShp" presStyleLbl="node1" presStyleIdx="1" presStyleCnt="3" custScaleX="132883" custLinFactNeighborX="3561" custLinFactNeighborY="0">
        <dgm:presLayoutVars>
          <dgm:bulletEnabled val="1"/>
        </dgm:presLayoutVars>
      </dgm:prSet>
      <dgm:spPr/>
    </dgm:pt>
    <dgm:pt modelId="{344FB807-38F7-4CAD-A959-A5FCA83223F5}" type="pres">
      <dgm:prSet presAssocID="{DFBD3D8C-3E06-43B0-9E98-EC52E77CBF3B}" presName="spacing" presStyleCnt="0"/>
      <dgm:spPr/>
    </dgm:pt>
    <dgm:pt modelId="{DBB293B0-0168-46BD-842A-D77AAC5452EF}" type="pres">
      <dgm:prSet presAssocID="{52D9B8AF-FFF4-4736-85FB-1C4756CA9572}" presName="composite" presStyleCnt="0"/>
      <dgm:spPr/>
    </dgm:pt>
    <dgm:pt modelId="{2B8815EE-8E16-4B94-9A43-582FDABEA376}" type="pres">
      <dgm:prSet presAssocID="{52D9B8AF-FFF4-4736-85FB-1C4756CA9572}" presName="imgShp" presStyleLbl="fgImgPlace1" presStyleIdx="2" presStyleCnt="3" custLinFactNeighborX="-42662" custLinFactNeighborY="711"/>
      <dgm:spPr>
        <a:blipFill rotWithShape="1"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8B7D3A15-85F3-4171-96D0-9BED0914AB08}" type="pres">
      <dgm:prSet presAssocID="{52D9B8AF-FFF4-4736-85FB-1C4756CA9572}" presName="txShp" presStyleLbl="node1" presStyleIdx="2" presStyleCnt="3" custScaleX="134289" custLinFactNeighborX="2858" custLinFactNeighborY="69">
        <dgm:presLayoutVars>
          <dgm:bulletEnabled val="1"/>
        </dgm:presLayoutVars>
      </dgm:prSet>
      <dgm:spPr/>
    </dgm:pt>
  </dgm:ptLst>
  <dgm:cxnLst>
    <dgm:cxn modelId="{BA97491B-EFCD-48AC-8CD8-E16EC13B8A18}" srcId="{10FFE8D9-2523-4D21-B683-665DC183BD34}" destId="{012CEA51-7305-48A0-AF33-E67B6539B7AE}" srcOrd="0" destOrd="0" parTransId="{ACE82B28-7AF3-4CAB-9823-DA86418B60AC}" sibTransId="{D9223FFA-252B-4506-8B97-F603CD3B4F50}"/>
    <dgm:cxn modelId="{CB5C7B1B-768F-4E1A-A415-4B0428C17640}" type="presOf" srcId="{52D9B8AF-FFF4-4736-85FB-1C4756CA9572}" destId="{8B7D3A15-85F3-4171-96D0-9BED0914AB08}" srcOrd="0" destOrd="0" presId="urn:microsoft.com/office/officeart/2005/8/layout/vList3"/>
    <dgm:cxn modelId="{1FF52E27-E43A-4254-86C1-FA108D9BF24F}" srcId="{10FFE8D9-2523-4D21-B683-665DC183BD34}" destId="{E7405B8F-AD5C-414B-90B3-CCD5F1A99E1D}" srcOrd="1" destOrd="0" parTransId="{6748EC12-2114-4DE6-ADD3-8CBBA0FF7104}" sibTransId="{DFBD3D8C-3E06-43B0-9E98-EC52E77CBF3B}"/>
    <dgm:cxn modelId="{402B8173-7056-4CF7-94F9-0C70B228B889}" type="presOf" srcId="{012CEA51-7305-48A0-AF33-E67B6539B7AE}" destId="{231C5DC9-3B94-4233-B75F-2F187107BF74}" srcOrd="0" destOrd="0" presId="urn:microsoft.com/office/officeart/2005/8/layout/vList3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B1FA6BB3-6B2E-4EB6-BFA9-B0C9C4C0794D}" srcId="{10FFE8D9-2523-4D21-B683-665DC183BD34}" destId="{52D9B8AF-FFF4-4736-85FB-1C4756CA9572}" srcOrd="2" destOrd="0" parTransId="{75026698-B741-4139-AA29-AC5951E6AC9C}" sibTransId="{9850A410-9A4F-4903-8C04-B681A6C60DAE}"/>
    <dgm:cxn modelId="{E3B825F5-CAB8-4235-A0B0-2A5C19F8761C}" type="presOf" srcId="{E7405B8F-AD5C-414B-90B3-CCD5F1A99E1D}" destId="{EA6993E9-8266-46BC-B04C-904098557E8E}" srcOrd="0" destOrd="0" presId="urn:microsoft.com/office/officeart/2005/8/layout/vList3"/>
    <dgm:cxn modelId="{45D7A004-B02F-4D19-84DE-1938FC30CA28}" type="presParOf" srcId="{F62C43F7-0315-498D-9E30-10F0A0B9BBD9}" destId="{8CB2BAA1-98E3-4649-A43C-DFF4FD76E75F}" srcOrd="0" destOrd="0" presId="urn:microsoft.com/office/officeart/2005/8/layout/vList3"/>
    <dgm:cxn modelId="{D9EC8B32-1D57-4AEB-8146-4479C7843D6F}" type="presParOf" srcId="{8CB2BAA1-98E3-4649-A43C-DFF4FD76E75F}" destId="{1DE9332B-C20E-4633-995B-D281F5209CC6}" srcOrd="0" destOrd="0" presId="urn:microsoft.com/office/officeart/2005/8/layout/vList3"/>
    <dgm:cxn modelId="{577DACD3-480F-4781-B7FA-92B721B469F0}" type="presParOf" srcId="{8CB2BAA1-98E3-4649-A43C-DFF4FD76E75F}" destId="{231C5DC9-3B94-4233-B75F-2F187107BF74}" srcOrd="1" destOrd="0" presId="urn:microsoft.com/office/officeart/2005/8/layout/vList3"/>
    <dgm:cxn modelId="{EA04B5EB-B11F-479E-8200-1FA195882ADE}" type="presParOf" srcId="{F62C43F7-0315-498D-9E30-10F0A0B9BBD9}" destId="{70B92CBE-4037-4CD5-B7CC-58B097DEE005}" srcOrd="1" destOrd="0" presId="urn:microsoft.com/office/officeart/2005/8/layout/vList3"/>
    <dgm:cxn modelId="{11377740-8E43-42A8-A96F-618BC077FE5F}" type="presParOf" srcId="{F62C43F7-0315-498D-9E30-10F0A0B9BBD9}" destId="{F7CAEC25-ABBA-4257-AE31-DCB9097CE404}" srcOrd="2" destOrd="0" presId="urn:microsoft.com/office/officeart/2005/8/layout/vList3"/>
    <dgm:cxn modelId="{554BF879-E317-41FE-B990-EC2A9E701036}" type="presParOf" srcId="{F7CAEC25-ABBA-4257-AE31-DCB9097CE404}" destId="{E2505A97-C61F-4AEC-B7CB-0B33D74D0143}" srcOrd="0" destOrd="0" presId="urn:microsoft.com/office/officeart/2005/8/layout/vList3"/>
    <dgm:cxn modelId="{5F59B758-C728-4B7E-AFFE-0467ABA8B837}" type="presParOf" srcId="{F7CAEC25-ABBA-4257-AE31-DCB9097CE404}" destId="{EA6993E9-8266-46BC-B04C-904098557E8E}" srcOrd="1" destOrd="0" presId="urn:microsoft.com/office/officeart/2005/8/layout/vList3"/>
    <dgm:cxn modelId="{466829AA-A86E-4C8E-A482-262C13FBFCD9}" type="presParOf" srcId="{F62C43F7-0315-498D-9E30-10F0A0B9BBD9}" destId="{344FB807-38F7-4CAD-A959-A5FCA83223F5}" srcOrd="3" destOrd="0" presId="urn:microsoft.com/office/officeart/2005/8/layout/vList3"/>
    <dgm:cxn modelId="{E92781BE-15A8-486E-9A8E-DD7D7F462619}" type="presParOf" srcId="{F62C43F7-0315-498D-9E30-10F0A0B9BBD9}" destId="{DBB293B0-0168-46BD-842A-D77AAC5452EF}" srcOrd="4" destOrd="0" presId="urn:microsoft.com/office/officeart/2005/8/layout/vList3"/>
    <dgm:cxn modelId="{284460FB-F3AD-4DAD-A5DA-0F48D34DE1BF}" type="presParOf" srcId="{DBB293B0-0168-46BD-842A-D77AAC5452EF}" destId="{2B8815EE-8E16-4B94-9A43-582FDABEA376}" srcOrd="0" destOrd="0" presId="urn:microsoft.com/office/officeart/2005/8/layout/vList3"/>
    <dgm:cxn modelId="{243C0792-1473-4594-8888-9FB859B2F298}" type="presParOf" srcId="{DBB293B0-0168-46BD-842A-D77AAC5452EF}" destId="{8B7D3A15-85F3-4171-96D0-9BED0914AB0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012CEA51-7305-48A0-AF33-E67B6539B7AE}">
      <dgm:prSet phldrT="[Text]" custT="1"/>
      <dgm:spPr>
        <a:solidFill>
          <a:schemeClr val="accent4"/>
        </a:solidFill>
      </dgm:spPr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INTEGRATION OF GOVERNANCE PROCESSES</a:t>
          </a:r>
        </a:p>
        <a:p>
          <a:pPr marL="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u="none" kern="1200" dirty="0">
              <a:solidFill>
                <a:schemeClr val="accent3">
                  <a:lumMod val="40000"/>
                  <a:lumOff val="60000"/>
                </a:schemeClr>
              </a:solidFill>
            </a:rPr>
            <a:t>India: </a:t>
          </a:r>
          <a:r>
            <a:rPr lang="en-GB" sz="1400" b="0" u="none" kern="1200" dirty="0">
              <a:solidFill>
                <a:schemeClr val="tx2"/>
              </a:solidFill>
            </a:rPr>
            <a:t>Task forces in state/district/urban areas developed for monitoring polio data were integrated for EPI and are now starting to discuss COVID-19 vaccination.</a:t>
          </a:r>
          <a:r>
            <a:rPr lang="en-GB" sz="1400" b="0" kern="1200" dirty="0">
              <a:solidFill>
                <a:schemeClr val="tx2"/>
              </a:solidFill>
            </a:rPr>
            <a:t> </a:t>
          </a:r>
        </a:p>
      </dgm:t>
    </dgm:pt>
    <dgm:pt modelId="{ACE82B28-7AF3-4CAB-9823-DA86418B60AC}" type="parTrans" cxnId="{BA97491B-EFCD-48AC-8CD8-E16EC13B8A18}">
      <dgm:prSet/>
      <dgm:spPr/>
      <dgm:t>
        <a:bodyPr/>
        <a:lstStyle/>
        <a:p>
          <a:endParaRPr lang="en-GB" sz="2000"/>
        </a:p>
      </dgm:t>
    </dgm:pt>
    <dgm:pt modelId="{D9223FFA-252B-4506-8B97-F603CD3B4F50}" type="sibTrans" cxnId="{BA97491B-EFCD-48AC-8CD8-E16EC13B8A18}">
      <dgm:prSet/>
      <dgm:spPr/>
      <dgm:t>
        <a:bodyPr/>
        <a:lstStyle/>
        <a:p>
          <a:endParaRPr lang="en-GB" sz="2000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8CB2BAA1-98E3-4649-A43C-DFF4FD76E75F}" type="pres">
      <dgm:prSet presAssocID="{012CEA51-7305-48A0-AF33-E67B6539B7AE}" presName="composite" presStyleCnt="0"/>
      <dgm:spPr/>
    </dgm:pt>
    <dgm:pt modelId="{1DE9332B-C20E-4633-995B-D281F5209CC6}" type="pres">
      <dgm:prSet presAssocID="{012CEA51-7305-48A0-AF33-E67B6539B7AE}" presName="imgShp" presStyleLbl="fgImgPlace1" presStyleIdx="0" presStyleCnt="1" custScaleX="81143" custScaleY="81143" custLinFactNeighborX="-10603" custLinFactNeighborY="931"/>
      <dgm:spPr>
        <a:blipFill rotWithShape="1">
          <a:blip xmlns:r="http://schemas.openxmlformats.org/officeDocument/2006/relationships" r:embed="rId1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  <a:ln>
          <a:solidFill>
            <a:srgbClr val="7F7F7F"/>
          </a:solidFill>
        </a:ln>
      </dgm:spPr>
    </dgm:pt>
    <dgm:pt modelId="{231C5DC9-3B94-4233-B75F-2F187107BF74}" type="pres">
      <dgm:prSet presAssocID="{012CEA51-7305-48A0-AF33-E67B6539B7AE}" presName="txShp" presStyleLbl="node1" presStyleIdx="0" presStyleCnt="1" custScaleX="134772" custScaleY="81143" custLinFactNeighborX="4563" custLinFactNeighborY="396">
        <dgm:presLayoutVars>
          <dgm:bulletEnabled val="1"/>
        </dgm:presLayoutVars>
      </dgm:prSet>
      <dgm:spPr/>
    </dgm:pt>
  </dgm:ptLst>
  <dgm:cxnLst>
    <dgm:cxn modelId="{BA97491B-EFCD-48AC-8CD8-E16EC13B8A18}" srcId="{10FFE8D9-2523-4D21-B683-665DC183BD34}" destId="{012CEA51-7305-48A0-AF33-E67B6539B7AE}" srcOrd="0" destOrd="0" parTransId="{ACE82B28-7AF3-4CAB-9823-DA86418B60AC}" sibTransId="{D9223FFA-252B-4506-8B97-F603CD3B4F50}"/>
    <dgm:cxn modelId="{402B8173-7056-4CF7-94F9-0C70B228B889}" type="presOf" srcId="{012CEA51-7305-48A0-AF33-E67B6539B7AE}" destId="{231C5DC9-3B94-4233-B75F-2F187107BF74}" srcOrd="0" destOrd="0" presId="urn:microsoft.com/office/officeart/2005/8/layout/vList3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45D7A004-B02F-4D19-84DE-1938FC30CA28}" type="presParOf" srcId="{F62C43F7-0315-498D-9E30-10F0A0B9BBD9}" destId="{8CB2BAA1-98E3-4649-A43C-DFF4FD76E75F}" srcOrd="0" destOrd="0" presId="urn:microsoft.com/office/officeart/2005/8/layout/vList3"/>
    <dgm:cxn modelId="{D9EC8B32-1D57-4AEB-8146-4479C7843D6F}" type="presParOf" srcId="{8CB2BAA1-98E3-4649-A43C-DFF4FD76E75F}" destId="{1DE9332B-C20E-4633-995B-D281F5209CC6}" srcOrd="0" destOrd="0" presId="urn:microsoft.com/office/officeart/2005/8/layout/vList3"/>
    <dgm:cxn modelId="{577DACD3-480F-4781-B7FA-92B721B469F0}" type="presParOf" srcId="{8CB2BAA1-98E3-4649-A43C-DFF4FD76E75F}" destId="{231C5DC9-3B94-4233-B75F-2F187107BF74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12CEA51-7305-48A0-AF33-E67B6539B7AE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accent2">
                  <a:lumMod val="50000"/>
                </a:schemeClr>
              </a:solidFill>
            </a:rPr>
            <a:t>CO-ADMINISTRATION WITH INFLUENZA VACCINATION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accent2">
                  <a:lumMod val="50000"/>
                </a:schemeClr>
              </a:solidFill>
            </a:rPr>
            <a:t>Panama </a:t>
          </a:r>
          <a:r>
            <a:rPr lang="en-GB" sz="1400" b="0" kern="1200" dirty="0">
              <a:solidFill>
                <a:schemeClr val="tx1"/>
              </a:solidFill>
            </a:rPr>
            <a:t>integrated the delivery of COVID-19 &amp; influenza vaccination at health facilities and house-to-house during the Vaccination Week in the Americas</a:t>
          </a:r>
          <a:endParaRPr lang="en-GB" sz="1400" b="1" kern="1200" dirty="0">
            <a:solidFill>
              <a:schemeClr val="accent2">
                <a:lumMod val="50000"/>
              </a:schemeClr>
            </a:solidFill>
          </a:endParaRPr>
        </a:p>
      </dgm:t>
    </dgm:pt>
    <dgm:pt modelId="{ACE82B28-7AF3-4CAB-9823-DA86418B60AC}" type="parTrans" cxnId="{BA97491B-EFCD-48AC-8CD8-E16EC13B8A18}">
      <dgm:prSet/>
      <dgm:spPr/>
      <dgm:t>
        <a:bodyPr/>
        <a:lstStyle/>
        <a:p>
          <a:endParaRPr lang="en-GB" sz="2000"/>
        </a:p>
      </dgm:t>
    </dgm:pt>
    <dgm:pt modelId="{D9223FFA-252B-4506-8B97-F603CD3B4F50}" type="sibTrans" cxnId="{BA97491B-EFCD-48AC-8CD8-E16EC13B8A18}">
      <dgm:prSet/>
      <dgm:spPr/>
      <dgm:t>
        <a:bodyPr/>
        <a:lstStyle/>
        <a:p>
          <a:endParaRPr lang="en-GB" sz="2000"/>
        </a:p>
      </dgm:t>
    </dgm:pt>
    <dgm:pt modelId="{E7405B8F-AD5C-414B-90B3-CCD5F1A99E1D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algn="l">
            <a:buNone/>
          </a:pPr>
          <a:r>
            <a:rPr lang="en-US" sz="1200" b="0" kern="1200" dirty="0">
              <a:solidFill>
                <a:schemeClr val="tx1"/>
              </a:solidFill>
            </a:rPr>
            <a:t>.</a:t>
          </a:r>
          <a:r>
            <a:rPr lang="en-US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ED DELIVERY WITH MEASLES OUTBREAK RESPONSE VACCINATION</a:t>
          </a:r>
        </a:p>
        <a:p>
          <a:pPr algn="l">
            <a:buNone/>
          </a:pPr>
          <a:r>
            <a:rPr lang="en-US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Angola </a:t>
          </a:r>
          <a:r>
            <a:rPr lang="en-US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integrated the delivery of COVID-19 vaccination with measles outbreak response vaccination in children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6748EC12-2114-4DE6-ADD3-8CBBA0FF7104}" type="parTrans" cxnId="{1FF52E27-E43A-4254-86C1-FA108D9BF24F}">
      <dgm:prSet/>
      <dgm:spPr/>
      <dgm:t>
        <a:bodyPr/>
        <a:lstStyle/>
        <a:p>
          <a:endParaRPr lang="en-GB" sz="2000"/>
        </a:p>
      </dgm:t>
    </dgm:pt>
    <dgm:pt modelId="{DFBD3D8C-3E06-43B0-9E98-EC52E77CBF3B}" type="sibTrans" cxnId="{1FF52E27-E43A-4254-86C1-FA108D9BF24F}">
      <dgm:prSet/>
      <dgm:spPr/>
      <dgm:t>
        <a:bodyPr/>
        <a:lstStyle/>
        <a:p>
          <a:endParaRPr lang="en-GB" sz="2000"/>
        </a:p>
      </dgm:t>
    </dgm:pt>
    <dgm:pt modelId="{52D9B8AF-FFF4-4736-85FB-1C4756CA9572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MULTI-INTERVENTION CAMPAIGN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Nigeria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plans multi-intervention campaigns to concurrently deliver measles vaccines, other essential vaccines and vitamin A to children and COVID-19 vaccination to adults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75026698-B741-4139-AA29-AC5951E6AC9C}" type="parTrans" cxnId="{B1FA6BB3-6B2E-4EB6-BFA9-B0C9C4C0794D}">
      <dgm:prSet/>
      <dgm:spPr/>
      <dgm:t>
        <a:bodyPr/>
        <a:lstStyle/>
        <a:p>
          <a:endParaRPr lang="en-GB" sz="2000"/>
        </a:p>
      </dgm:t>
    </dgm:pt>
    <dgm:pt modelId="{9850A410-9A4F-4903-8C04-B681A6C60DAE}" type="sibTrans" cxnId="{B1FA6BB3-6B2E-4EB6-BFA9-B0C9C4C0794D}">
      <dgm:prSet/>
      <dgm:spPr/>
      <dgm:t>
        <a:bodyPr/>
        <a:lstStyle/>
        <a:p>
          <a:endParaRPr lang="en-GB" sz="2000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8CB2BAA1-98E3-4649-A43C-DFF4FD76E75F}" type="pres">
      <dgm:prSet presAssocID="{012CEA51-7305-48A0-AF33-E67B6539B7AE}" presName="composite" presStyleCnt="0"/>
      <dgm:spPr/>
    </dgm:pt>
    <dgm:pt modelId="{1DE9332B-C20E-4633-995B-D281F5209CC6}" type="pres">
      <dgm:prSet presAssocID="{012CEA51-7305-48A0-AF33-E67B6539B7AE}" presName="imgShp" presStyleLbl="fgImgPlace1" presStyleIdx="0" presStyleCnt="3" custScaleX="98683" custScaleY="96327" custLinFactNeighborX="-28946" custLinFactNeighborY="5605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>
          <a:noFill/>
        </a:ln>
      </dgm:spPr>
    </dgm:pt>
    <dgm:pt modelId="{231C5DC9-3B94-4233-B75F-2F187107BF74}" type="pres">
      <dgm:prSet presAssocID="{012CEA51-7305-48A0-AF33-E67B6539B7AE}" presName="txShp" presStyleLbl="node1" presStyleIdx="0" presStyleCnt="3" custScaleX="135170" custLinFactNeighborX="7603" custLinFactNeighborY="5854">
        <dgm:presLayoutVars>
          <dgm:bulletEnabled val="1"/>
        </dgm:presLayoutVars>
      </dgm:prSet>
      <dgm:spPr/>
    </dgm:pt>
    <dgm:pt modelId="{70B92CBE-4037-4CD5-B7CC-58B097DEE005}" type="pres">
      <dgm:prSet presAssocID="{D9223FFA-252B-4506-8B97-F603CD3B4F50}" presName="spacing" presStyleCnt="0"/>
      <dgm:spPr/>
    </dgm:pt>
    <dgm:pt modelId="{F7CAEC25-ABBA-4257-AE31-DCB9097CE404}" type="pres">
      <dgm:prSet presAssocID="{E7405B8F-AD5C-414B-90B3-CCD5F1A99E1D}" presName="composite" presStyleCnt="0"/>
      <dgm:spPr/>
    </dgm:pt>
    <dgm:pt modelId="{E2505A97-C61F-4AEC-B7CB-0B33D74D0143}" type="pres">
      <dgm:prSet presAssocID="{E7405B8F-AD5C-414B-90B3-CCD5F1A99E1D}" presName="imgShp" presStyleLbl="fgImgPlace1" presStyleIdx="1" presStyleCnt="3" custLinFactNeighborX="-24175" custLinFactNeighborY="292"/>
      <dgm:spPr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</dgm:spPr>
    </dgm:pt>
    <dgm:pt modelId="{EA6993E9-8266-46BC-B04C-904098557E8E}" type="pres">
      <dgm:prSet presAssocID="{E7405B8F-AD5C-414B-90B3-CCD5F1A99E1D}" presName="txShp" presStyleLbl="node1" presStyleIdx="1" presStyleCnt="3" custScaleX="135170" custLinFactNeighborX="7603" custLinFactNeighborY="166">
        <dgm:presLayoutVars>
          <dgm:bulletEnabled val="1"/>
        </dgm:presLayoutVars>
      </dgm:prSet>
      <dgm:spPr/>
    </dgm:pt>
    <dgm:pt modelId="{344FB807-38F7-4CAD-A959-A5FCA83223F5}" type="pres">
      <dgm:prSet presAssocID="{DFBD3D8C-3E06-43B0-9E98-EC52E77CBF3B}" presName="spacing" presStyleCnt="0"/>
      <dgm:spPr/>
    </dgm:pt>
    <dgm:pt modelId="{DBB293B0-0168-46BD-842A-D77AAC5452EF}" type="pres">
      <dgm:prSet presAssocID="{52D9B8AF-FFF4-4736-85FB-1C4756CA9572}" presName="composite" presStyleCnt="0"/>
      <dgm:spPr/>
    </dgm:pt>
    <dgm:pt modelId="{2B8815EE-8E16-4B94-9A43-582FDABEA376}" type="pres">
      <dgm:prSet presAssocID="{52D9B8AF-FFF4-4736-85FB-1C4756CA9572}" presName="imgShp" presStyleLbl="fgImgPlace1" presStyleIdx="2" presStyleCnt="3" custLinFactNeighborX="-53186" custLinFactNeighborY="-5171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8B7D3A15-85F3-4171-96D0-9BED0914AB08}" type="pres">
      <dgm:prSet presAssocID="{52D9B8AF-FFF4-4736-85FB-1C4756CA9572}" presName="txShp" presStyleLbl="node1" presStyleIdx="2" presStyleCnt="3" custScaleX="135698" custLinFactNeighborX="5045" custLinFactNeighborY="-5171">
        <dgm:presLayoutVars>
          <dgm:bulletEnabled val="1"/>
        </dgm:presLayoutVars>
      </dgm:prSet>
      <dgm:spPr/>
    </dgm:pt>
  </dgm:ptLst>
  <dgm:cxnLst>
    <dgm:cxn modelId="{BA97491B-EFCD-48AC-8CD8-E16EC13B8A18}" srcId="{10FFE8D9-2523-4D21-B683-665DC183BD34}" destId="{012CEA51-7305-48A0-AF33-E67B6539B7AE}" srcOrd="0" destOrd="0" parTransId="{ACE82B28-7AF3-4CAB-9823-DA86418B60AC}" sibTransId="{D9223FFA-252B-4506-8B97-F603CD3B4F50}"/>
    <dgm:cxn modelId="{CB5C7B1B-768F-4E1A-A415-4B0428C17640}" type="presOf" srcId="{52D9B8AF-FFF4-4736-85FB-1C4756CA9572}" destId="{8B7D3A15-85F3-4171-96D0-9BED0914AB08}" srcOrd="0" destOrd="0" presId="urn:microsoft.com/office/officeart/2005/8/layout/vList3"/>
    <dgm:cxn modelId="{1FF52E27-E43A-4254-86C1-FA108D9BF24F}" srcId="{10FFE8D9-2523-4D21-B683-665DC183BD34}" destId="{E7405B8F-AD5C-414B-90B3-CCD5F1A99E1D}" srcOrd="1" destOrd="0" parTransId="{6748EC12-2114-4DE6-ADD3-8CBBA0FF7104}" sibTransId="{DFBD3D8C-3E06-43B0-9E98-EC52E77CBF3B}"/>
    <dgm:cxn modelId="{402B8173-7056-4CF7-94F9-0C70B228B889}" type="presOf" srcId="{012CEA51-7305-48A0-AF33-E67B6539B7AE}" destId="{231C5DC9-3B94-4233-B75F-2F187107BF74}" srcOrd="0" destOrd="0" presId="urn:microsoft.com/office/officeart/2005/8/layout/vList3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B1FA6BB3-6B2E-4EB6-BFA9-B0C9C4C0794D}" srcId="{10FFE8D9-2523-4D21-B683-665DC183BD34}" destId="{52D9B8AF-FFF4-4736-85FB-1C4756CA9572}" srcOrd="2" destOrd="0" parTransId="{75026698-B741-4139-AA29-AC5951E6AC9C}" sibTransId="{9850A410-9A4F-4903-8C04-B681A6C60DAE}"/>
    <dgm:cxn modelId="{E3B825F5-CAB8-4235-A0B0-2A5C19F8761C}" type="presOf" srcId="{E7405B8F-AD5C-414B-90B3-CCD5F1A99E1D}" destId="{EA6993E9-8266-46BC-B04C-904098557E8E}" srcOrd="0" destOrd="0" presId="urn:microsoft.com/office/officeart/2005/8/layout/vList3"/>
    <dgm:cxn modelId="{45D7A004-B02F-4D19-84DE-1938FC30CA28}" type="presParOf" srcId="{F62C43F7-0315-498D-9E30-10F0A0B9BBD9}" destId="{8CB2BAA1-98E3-4649-A43C-DFF4FD76E75F}" srcOrd="0" destOrd="0" presId="urn:microsoft.com/office/officeart/2005/8/layout/vList3"/>
    <dgm:cxn modelId="{D9EC8B32-1D57-4AEB-8146-4479C7843D6F}" type="presParOf" srcId="{8CB2BAA1-98E3-4649-A43C-DFF4FD76E75F}" destId="{1DE9332B-C20E-4633-995B-D281F5209CC6}" srcOrd="0" destOrd="0" presId="urn:microsoft.com/office/officeart/2005/8/layout/vList3"/>
    <dgm:cxn modelId="{577DACD3-480F-4781-B7FA-92B721B469F0}" type="presParOf" srcId="{8CB2BAA1-98E3-4649-A43C-DFF4FD76E75F}" destId="{231C5DC9-3B94-4233-B75F-2F187107BF74}" srcOrd="1" destOrd="0" presId="urn:microsoft.com/office/officeart/2005/8/layout/vList3"/>
    <dgm:cxn modelId="{EA04B5EB-B11F-479E-8200-1FA195882ADE}" type="presParOf" srcId="{F62C43F7-0315-498D-9E30-10F0A0B9BBD9}" destId="{70B92CBE-4037-4CD5-B7CC-58B097DEE005}" srcOrd="1" destOrd="0" presId="urn:microsoft.com/office/officeart/2005/8/layout/vList3"/>
    <dgm:cxn modelId="{11377740-8E43-42A8-A96F-618BC077FE5F}" type="presParOf" srcId="{F62C43F7-0315-498D-9E30-10F0A0B9BBD9}" destId="{F7CAEC25-ABBA-4257-AE31-DCB9097CE404}" srcOrd="2" destOrd="0" presId="urn:microsoft.com/office/officeart/2005/8/layout/vList3"/>
    <dgm:cxn modelId="{554BF879-E317-41FE-B990-EC2A9E701036}" type="presParOf" srcId="{F7CAEC25-ABBA-4257-AE31-DCB9097CE404}" destId="{E2505A97-C61F-4AEC-B7CB-0B33D74D0143}" srcOrd="0" destOrd="0" presId="urn:microsoft.com/office/officeart/2005/8/layout/vList3"/>
    <dgm:cxn modelId="{5F59B758-C728-4B7E-AFFE-0467ABA8B837}" type="presParOf" srcId="{F7CAEC25-ABBA-4257-AE31-DCB9097CE404}" destId="{EA6993E9-8266-46BC-B04C-904098557E8E}" srcOrd="1" destOrd="0" presId="urn:microsoft.com/office/officeart/2005/8/layout/vList3"/>
    <dgm:cxn modelId="{466829AA-A86E-4C8E-A482-262C13FBFCD9}" type="presParOf" srcId="{F62C43F7-0315-498D-9E30-10F0A0B9BBD9}" destId="{344FB807-38F7-4CAD-A959-A5FCA83223F5}" srcOrd="3" destOrd="0" presId="urn:microsoft.com/office/officeart/2005/8/layout/vList3"/>
    <dgm:cxn modelId="{E92781BE-15A8-486E-9A8E-DD7D7F462619}" type="presParOf" srcId="{F62C43F7-0315-498D-9E30-10F0A0B9BBD9}" destId="{DBB293B0-0168-46BD-842A-D77AAC5452EF}" srcOrd="4" destOrd="0" presId="urn:microsoft.com/office/officeart/2005/8/layout/vList3"/>
    <dgm:cxn modelId="{284460FB-F3AD-4DAD-A5DA-0F48D34DE1BF}" type="presParOf" srcId="{DBB293B0-0168-46BD-842A-D77AAC5452EF}" destId="{2B8815EE-8E16-4B94-9A43-582FDABEA376}" srcOrd="0" destOrd="0" presId="urn:microsoft.com/office/officeart/2005/8/layout/vList3"/>
    <dgm:cxn modelId="{243C0792-1473-4594-8888-9FB859B2F298}" type="presParOf" srcId="{DBB293B0-0168-46BD-842A-D77AAC5452EF}" destId="{8B7D3A15-85F3-4171-96D0-9BED0914AB0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12CEA51-7305-48A0-AF33-E67B6539B7AE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DELIVERING COVID-19 AND ESSENTIAL VACCINATIONS AT THE SAME FACILITY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dia &amp; Bangladesh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deliver COVID-19 and essential vaccines at the same outreach and health facility vaccination sites on different days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ACE82B28-7AF3-4CAB-9823-DA86418B60AC}" type="parTrans" cxnId="{BA97491B-EFCD-48AC-8CD8-E16EC13B8A18}">
      <dgm:prSet/>
      <dgm:spPr/>
      <dgm:t>
        <a:bodyPr/>
        <a:lstStyle/>
        <a:p>
          <a:endParaRPr lang="en-GB" sz="1800"/>
        </a:p>
      </dgm:t>
    </dgm:pt>
    <dgm:pt modelId="{D9223FFA-252B-4506-8B97-F603CD3B4F50}" type="sibTrans" cxnId="{BA97491B-EFCD-48AC-8CD8-E16EC13B8A18}">
      <dgm:prSet/>
      <dgm:spPr/>
      <dgm:t>
        <a:bodyPr/>
        <a:lstStyle/>
        <a:p>
          <a:endParaRPr lang="en-GB" sz="1800"/>
        </a:p>
      </dgm:t>
    </dgm:pt>
    <dgm:pt modelId="{E7405B8F-AD5C-414B-90B3-CCD5F1A99E1D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DELIVERING COVID-19 AND ESSENTIAL VACCINATIONS AT THE SAME FACILITY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Maldives </a:t>
          </a:r>
          <a:r>
            <a:rPr lang="en-GB" sz="1400" kern="1200" dirty="0">
              <a:solidFill>
                <a:schemeClr val="tx1"/>
              </a:solidFill>
            </a:rPr>
            <a:t>delivers COVID-19 and essential vaccination at the same outreach and health facility vaccination sites but at different times of the day.</a:t>
          </a:r>
        </a:p>
      </dgm:t>
    </dgm:pt>
    <dgm:pt modelId="{6748EC12-2114-4DE6-ADD3-8CBBA0FF7104}" type="parTrans" cxnId="{1FF52E27-E43A-4254-86C1-FA108D9BF24F}">
      <dgm:prSet/>
      <dgm:spPr/>
      <dgm:t>
        <a:bodyPr/>
        <a:lstStyle/>
        <a:p>
          <a:endParaRPr lang="en-GB" sz="1800"/>
        </a:p>
      </dgm:t>
    </dgm:pt>
    <dgm:pt modelId="{DFBD3D8C-3E06-43B0-9E98-EC52E77CBF3B}" type="sibTrans" cxnId="{1FF52E27-E43A-4254-86C1-FA108D9BF24F}">
      <dgm:prSet/>
      <dgm:spPr/>
      <dgm:t>
        <a:bodyPr/>
        <a:lstStyle/>
        <a:p>
          <a:endParaRPr lang="en-GB" sz="1800"/>
        </a:p>
      </dgm:t>
    </dgm:pt>
    <dgm:pt modelId="{52D9B8AF-FFF4-4736-85FB-1C4756CA9572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ION OF VACCINATION WITH IDENTIFICATION OF RISK GROUP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Sri Lanka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screens caretakers of children coming for essential vaccination to check their COVID-19 vaccination status and offer vaccination to those who require it.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75026698-B741-4139-AA29-AC5951E6AC9C}" type="parTrans" cxnId="{B1FA6BB3-6B2E-4EB6-BFA9-B0C9C4C0794D}">
      <dgm:prSet/>
      <dgm:spPr/>
      <dgm:t>
        <a:bodyPr/>
        <a:lstStyle/>
        <a:p>
          <a:endParaRPr lang="en-GB" sz="1800"/>
        </a:p>
      </dgm:t>
    </dgm:pt>
    <dgm:pt modelId="{9850A410-9A4F-4903-8C04-B681A6C60DAE}" type="sibTrans" cxnId="{B1FA6BB3-6B2E-4EB6-BFA9-B0C9C4C0794D}">
      <dgm:prSet/>
      <dgm:spPr/>
      <dgm:t>
        <a:bodyPr/>
        <a:lstStyle/>
        <a:p>
          <a:endParaRPr lang="en-GB" sz="1800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8CB2BAA1-98E3-4649-A43C-DFF4FD76E75F}" type="pres">
      <dgm:prSet presAssocID="{012CEA51-7305-48A0-AF33-E67B6539B7AE}" presName="composite" presStyleCnt="0"/>
      <dgm:spPr/>
    </dgm:pt>
    <dgm:pt modelId="{1DE9332B-C20E-4633-995B-D281F5209CC6}" type="pres">
      <dgm:prSet presAssocID="{012CEA51-7305-48A0-AF33-E67B6539B7AE}" presName="imgShp" presStyleLbl="fgImgPlace1" presStyleIdx="0" presStyleCnt="3" custScaleX="95015" custScaleY="98781" custLinFactNeighborX="-31775" custLinFactNeighborY="8165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</dgm:pt>
    <dgm:pt modelId="{231C5DC9-3B94-4233-B75F-2F187107BF74}" type="pres">
      <dgm:prSet presAssocID="{012CEA51-7305-48A0-AF33-E67B6539B7AE}" presName="txShp" presStyleLbl="node1" presStyleIdx="0" presStyleCnt="3" custScaleX="133540" custLinFactNeighborX="5567" custLinFactNeighborY="7410">
        <dgm:presLayoutVars>
          <dgm:bulletEnabled val="1"/>
        </dgm:presLayoutVars>
      </dgm:prSet>
      <dgm:spPr/>
    </dgm:pt>
    <dgm:pt modelId="{70B92CBE-4037-4CD5-B7CC-58B097DEE005}" type="pres">
      <dgm:prSet presAssocID="{D9223FFA-252B-4506-8B97-F603CD3B4F50}" presName="spacing" presStyleCnt="0"/>
      <dgm:spPr/>
    </dgm:pt>
    <dgm:pt modelId="{F7CAEC25-ABBA-4257-AE31-DCB9097CE404}" type="pres">
      <dgm:prSet presAssocID="{E7405B8F-AD5C-414B-90B3-CCD5F1A99E1D}" presName="composite" presStyleCnt="0"/>
      <dgm:spPr/>
    </dgm:pt>
    <dgm:pt modelId="{E2505A97-C61F-4AEC-B7CB-0B33D74D0143}" type="pres">
      <dgm:prSet presAssocID="{E7405B8F-AD5C-414B-90B3-CCD5F1A99E1D}" presName="imgShp" presStyleLbl="fgImgPlace1" presStyleIdx="1" presStyleCnt="3" custLinFactNeighborX="-51252" custLinFactNeighborY="-2901"/>
      <dgm:spPr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EA6993E9-8266-46BC-B04C-904098557E8E}" type="pres">
      <dgm:prSet presAssocID="{E7405B8F-AD5C-414B-90B3-CCD5F1A99E1D}" presName="txShp" presStyleLbl="node1" presStyleIdx="1" presStyleCnt="3" custScaleX="133540" custLinFactNeighborX="5567">
        <dgm:presLayoutVars>
          <dgm:bulletEnabled val="1"/>
        </dgm:presLayoutVars>
      </dgm:prSet>
      <dgm:spPr/>
    </dgm:pt>
    <dgm:pt modelId="{344FB807-38F7-4CAD-A959-A5FCA83223F5}" type="pres">
      <dgm:prSet presAssocID="{DFBD3D8C-3E06-43B0-9E98-EC52E77CBF3B}" presName="spacing" presStyleCnt="0"/>
      <dgm:spPr/>
    </dgm:pt>
    <dgm:pt modelId="{DBB293B0-0168-46BD-842A-D77AAC5452EF}" type="pres">
      <dgm:prSet presAssocID="{52D9B8AF-FFF4-4736-85FB-1C4756CA9572}" presName="composite" presStyleCnt="0"/>
      <dgm:spPr/>
    </dgm:pt>
    <dgm:pt modelId="{2B8815EE-8E16-4B94-9A43-582FDABEA376}" type="pres">
      <dgm:prSet presAssocID="{52D9B8AF-FFF4-4736-85FB-1C4756CA9572}" presName="imgShp" presStyleLbl="fgImgPlace1" presStyleIdx="2" presStyleCnt="3" custScaleX="105151" custScaleY="91903" custLinFactNeighborX="-51252" custLinFactNeighborY="-2901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</dgm:pt>
    <dgm:pt modelId="{8B7D3A15-85F3-4171-96D0-9BED0914AB08}" type="pres">
      <dgm:prSet presAssocID="{52D9B8AF-FFF4-4736-85FB-1C4756CA9572}" presName="txShp" presStyleLbl="node1" presStyleIdx="2" presStyleCnt="3" custScaleX="133540" custScaleY="107585" custLinFactNeighborX="5567">
        <dgm:presLayoutVars>
          <dgm:bulletEnabled val="1"/>
        </dgm:presLayoutVars>
      </dgm:prSet>
      <dgm:spPr/>
    </dgm:pt>
  </dgm:ptLst>
  <dgm:cxnLst>
    <dgm:cxn modelId="{BA97491B-EFCD-48AC-8CD8-E16EC13B8A18}" srcId="{10FFE8D9-2523-4D21-B683-665DC183BD34}" destId="{012CEA51-7305-48A0-AF33-E67B6539B7AE}" srcOrd="0" destOrd="0" parTransId="{ACE82B28-7AF3-4CAB-9823-DA86418B60AC}" sibTransId="{D9223FFA-252B-4506-8B97-F603CD3B4F50}"/>
    <dgm:cxn modelId="{CB5C7B1B-768F-4E1A-A415-4B0428C17640}" type="presOf" srcId="{52D9B8AF-FFF4-4736-85FB-1C4756CA9572}" destId="{8B7D3A15-85F3-4171-96D0-9BED0914AB08}" srcOrd="0" destOrd="0" presId="urn:microsoft.com/office/officeart/2005/8/layout/vList3"/>
    <dgm:cxn modelId="{1FF52E27-E43A-4254-86C1-FA108D9BF24F}" srcId="{10FFE8D9-2523-4D21-B683-665DC183BD34}" destId="{E7405B8F-AD5C-414B-90B3-CCD5F1A99E1D}" srcOrd="1" destOrd="0" parTransId="{6748EC12-2114-4DE6-ADD3-8CBBA0FF7104}" sibTransId="{DFBD3D8C-3E06-43B0-9E98-EC52E77CBF3B}"/>
    <dgm:cxn modelId="{402B8173-7056-4CF7-94F9-0C70B228B889}" type="presOf" srcId="{012CEA51-7305-48A0-AF33-E67B6539B7AE}" destId="{231C5DC9-3B94-4233-B75F-2F187107BF74}" srcOrd="0" destOrd="0" presId="urn:microsoft.com/office/officeart/2005/8/layout/vList3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B1FA6BB3-6B2E-4EB6-BFA9-B0C9C4C0794D}" srcId="{10FFE8D9-2523-4D21-B683-665DC183BD34}" destId="{52D9B8AF-FFF4-4736-85FB-1C4756CA9572}" srcOrd="2" destOrd="0" parTransId="{75026698-B741-4139-AA29-AC5951E6AC9C}" sibTransId="{9850A410-9A4F-4903-8C04-B681A6C60DAE}"/>
    <dgm:cxn modelId="{E3B825F5-CAB8-4235-A0B0-2A5C19F8761C}" type="presOf" srcId="{E7405B8F-AD5C-414B-90B3-CCD5F1A99E1D}" destId="{EA6993E9-8266-46BC-B04C-904098557E8E}" srcOrd="0" destOrd="0" presId="urn:microsoft.com/office/officeart/2005/8/layout/vList3"/>
    <dgm:cxn modelId="{45D7A004-B02F-4D19-84DE-1938FC30CA28}" type="presParOf" srcId="{F62C43F7-0315-498D-9E30-10F0A0B9BBD9}" destId="{8CB2BAA1-98E3-4649-A43C-DFF4FD76E75F}" srcOrd="0" destOrd="0" presId="urn:microsoft.com/office/officeart/2005/8/layout/vList3"/>
    <dgm:cxn modelId="{D9EC8B32-1D57-4AEB-8146-4479C7843D6F}" type="presParOf" srcId="{8CB2BAA1-98E3-4649-A43C-DFF4FD76E75F}" destId="{1DE9332B-C20E-4633-995B-D281F5209CC6}" srcOrd="0" destOrd="0" presId="urn:microsoft.com/office/officeart/2005/8/layout/vList3"/>
    <dgm:cxn modelId="{577DACD3-480F-4781-B7FA-92B721B469F0}" type="presParOf" srcId="{8CB2BAA1-98E3-4649-A43C-DFF4FD76E75F}" destId="{231C5DC9-3B94-4233-B75F-2F187107BF74}" srcOrd="1" destOrd="0" presId="urn:microsoft.com/office/officeart/2005/8/layout/vList3"/>
    <dgm:cxn modelId="{EA04B5EB-B11F-479E-8200-1FA195882ADE}" type="presParOf" srcId="{F62C43F7-0315-498D-9E30-10F0A0B9BBD9}" destId="{70B92CBE-4037-4CD5-B7CC-58B097DEE005}" srcOrd="1" destOrd="0" presId="urn:microsoft.com/office/officeart/2005/8/layout/vList3"/>
    <dgm:cxn modelId="{11377740-8E43-42A8-A96F-618BC077FE5F}" type="presParOf" srcId="{F62C43F7-0315-498D-9E30-10F0A0B9BBD9}" destId="{F7CAEC25-ABBA-4257-AE31-DCB9097CE404}" srcOrd="2" destOrd="0" presId="urn:microsoft.com/office/officeart/2005/8/layout/vList3"/>
    <dgm:cxn modelId="{554BF879-E317-41FE-B990-EC2A9E701036}" type="presParOf" srcId="{F7CAEC25-ABBA-4257-AE31-DCB9097CE404}" destId="{E2505A97-C61F-4AEC-B7CB-0B33D74D0143}" srcOrd="0" destOrd="0" presId="urn:microsoft.com/office/officeart/2005/8/layout/vList3"/>
    <dgm:cxn modelId="{5F59B758-C728-4B7E-AFFE-0467ABA8B837}" type="presParOf" srcId="{F7CAEC25-ABBA-4257-AE31-DCB9097CE404}" destId="{EA6993E9-8266-46BC-B04C-904098557E8E}" srcOrd="1" destOrd="0" presId="urn:microsoft.com/office/officeart/2005/8/layout/vList3"/>
    <dgm:cxn modelId="{466829AA-A86E-4C8E-A482-262C13FBFCD9}" type="presParOf" srcId="{F62C43F7-0315-498D-9E30-10F0A0B9BBD9}" destId="{344FB807-38F7-4CAD-A959-A5FCA83223F5}" srcOrd="3" destOrd="0" presId="urn:microsoft.com/office/officeart/2005/8/layout/vList3"/>
    <dgm:cxn modelId="{E92781BE-15A8-486E-9A8E-DD7D7F462619}" type="presParOf" srcId="{F62C43F7-0315-498D-9E30-10F0A0B9BBD9}" destId="{DBB293B0-0168-46BD-842A-D77AAC5452EF}" srcOrd="4" destOrd="0" presId="urn:microsoft.com/office/officeart/2005/8/layout/vList3"/>
    <dgm:cxn modelId="{284460FB-F3AD-4DAD-A5DA-0F48D34DE1BF}" type="presParOf" srcId="{DBB293B0-0168-46BD-842A-D77AAC5452EF}" destId="{2B8815EE-8E16-4B94-9A43-582FDABEA376}" srcOrd="0" destOrd="0" presId="urn:microsoft.com/office/officeart/2005/8/layout/vList3"/>
    <dgm:cxn modelId="{243C0792-1473-4594-8888-9FB859B2F298}" type="presParOf" srcId="{DBB293B0-0168-46BD-842A-D77AAC5452EF}" destId="{8B7D3A15-85F3-4171-96D0-9BED0914AB0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12CEA51-7305-48A0-AF33-E67B6539B7AE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ED DELIVERY OF SERVICES DURING OUTREACH SESSION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Philippines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provides COVID-19 vaccine, essential vaccines, vitamin A supplementation and nutrition screening at different sites in a village during the same day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ACE82B28-7AF3-4CAB-9823-DA86418B60AC}" type="parTrans" cxnId="{BA97491B-EFCD-48AC-8CD8-E16EC13B8A18}">
      <dgm:prSet/>
      <dgm:spPr/>
      <dgm:t>
        <a:bodyPr/>
        <a:lstStyle/>
        <a:p>
          <a:endParaRPr lang="en-GB" sz="2000"/>
        </a:p>
      </dgm:t>
    </dgm:pt>
    <dgm:pt modelId="{D9223FFA-252B-4506-8B97-F603CD3B4F50}" type="sibTrans" cxnId="{BA97491B-EFCD-48AC-8CD8-E16EC13B8A18}">
      <dgm:prSet/>
      <dgm:spPr/>
      <dgm:t>
        <a:bodyPr/>
        <a:lstStyle/>
        <a:p>
          <a:endParaRPr lang="en-GB" sz="2000"/>
        </a:p>
      </dgm:t>
    </dgm:pt>
    <dgm:pt modelId="{E7405B8F-AD5C-414B-90B3-CCD5F1A99E1D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COVID-19 VACCINATION FOR CAREGIVERS DURING ESSENTIAL IMMUNIZATION VISIT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Ethiopia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screens care givers of children coming for essential immunization and provides COVID-19 vaccination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6748EC12-2114-4DE6-ADD3-8CBBA0FF7104}" type="parTrans" cxnId="{1FF52E27-E43A-4254-86C1-FA108D9BF24F}">
      <dgm:prSet/>
      <dgm:spPr/>
      <dgm:t>
        <a:bodyPr/>
        <a:lstStyle/>
        <a:p>
          <a:endParaRPr lang="en-GB" sz="2000"/>
        </a:p>
      </dgm:t>
    </dgm:pt>
    <dgm:pt modelId="{DFBD3D8C-3E06-43B0-9E98-EC52E77CBF3B}" type="sibTrans" cxnId="{1FF52E27-E43A-4254-86C1-FA108D9BF24F}">
      <dgm:prSet/>
      <dgm:spPr/>
      <dgm:t>
        <a:bodyPr/>
        <a:lstStyle/>
        <a:p>
          <a:endParaRPr lang="en-GB" sz="2000"/>
        </a:p>
      </dgm:t>
    </dgm:pt>
    <dgm:pt modelId="{52D9B8AF-FFF4-4736-85FB-1C4756CA9572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ING SOCIAL MOBILIZATION FOR COVID-19 WITH IDENTIFICATION OF MISSED CHILDREN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raq: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community mobilizers for COVID-19 vaccination also check vaccination records to identify children who missed essential vaccination doses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75026698-B741-4139-AA29-AC5951E6AC9C}" type="parTrans" cxnId="{B1FA6BB3-6B2E-4EB6-BFA9-B0C9C4C0794D}">
      <dgm:prSet/>
      <dgm:spPr/>
      <dgm:t>
        <a:bodyPr/>
        <a:lstStyle/>
        <a:p>
          <a:endParaRPr lang="en-GB" sz="2000"/>
        </a:p>
      </dgm:t>
    </dgm:pt>
    <dgm:pt modelId="{9850A410-9A4F-4903-8C04-B681A6C60DAE}" type="sibTrans" cxnId="{B1FA6BB3-6B2E-4EB6-BFA9-B0C9C4C0794D}">
      <dgm:prSet/>
      <dgm:spPr/>
      <dgm:t>
        <a:bodyPr/>
        <a:lstStyle/>
        <a:p>
          <a:endParaRPr lang="en-GB" sz="2000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8CB2BAA1-98E3-4649-A43C-DFF4FD76E75F}" type="pres">
      <dgm:prSet presAssocID="{012CEA51-7305-48A0-AF33-E67B6539B7AE}" presName="composite" presStyleCnt="0"/>
      <dgm:spPr/>
    </dgm:pt>
    <dgm:pt modelId="{1DE9332B-C20E-4633-995B-D281F5209CC6}" type="pres">
      <dgm:prSet presAssocID="{012CEA51-7305-48A0-AF33-E67B6539B7AE}" presName="imgShp" presStyleLbl="fgImgPlace1" presStyleIdx="0" presStyleCnt="3" custScaleX="98683" custScaleY="96327" custLinFactNeighborX="-28946" custLinFactNeighborY="4108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  <a:ln>
          <a:noFill/>
        </a:ln>
      </dgm:spPr>
    </dgm:pt>
    <dgm:pt modelId="{231C5DC9-3B94-4233-B75F-2F187107BF74}" type="pres">
      <dgm:prSet presAssocID="{012CEA51-7305-48A0-AF33-E67B6539B7AE}" presName="txShp" presStyleLbl="node1" presStyleIdx="0" presStyleCnt="3" custScaleX="135170" custLinFactNeighborX="7603" custLinFactNeighborY="5854">
        <dgm:presLayoutVars>
          <dgm:bulletEnabled val="1"/>
        </dgm:presLayoutVars>
      </dgm:prSet>
      <dgm:spPr/>
    </dgm:pt>
    <dgm:pt modelId="{70B92CBE-4037-4CD5-B7CC-58B097DEE005}" type="pres">
      <dgm:prSet presAssocID="{D9223FFA-252B-4506-8B97-F603CD3B4F50}" presName="spacing" presStyleCnt="0"/>
      <dgm:spPr/>
    </dgm:pt>
    <dgm:pt modelId="{F7CAEC25-ABBA-4257-AE31-DCB9097CE404}" type="pres">
      <dgm:prSet presAssocID="{E7405B8F-AD5C-414B-90B3-CCD5F1A99E1D}" presName="composite" presStyleCnt="0"/>
      <dgm:spPr/>
    </dgm:pt>
    <dgm:pt modelId="{E2505A97-C61F-4AEC-B7CB-0B33D74D0143}" type="pres">
      <dgm:prSet presAssocID="{E7405B8F-AD5C-414B-90B3-CCD5F1A99E1D}" presName="imgShp" presStyleLbl="fgImgPlace1" presStyleIdx="1" presStyleCnt="3" custLinFactNeighborX="-27166" custLinFactNeighborY="5975"/>
      <dgm:spPr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EA6993E9-8266-46BC-B04C-904098557E8E}" type="pres">
      <dgm:prSet presAssocID="{E7405B8F-AD5C-414B-90B3-CCD5F1A99E1D}" presName="txShp" presStyleLbl="node1" presStyleIdx="1" presStyleCnt="3" custScaleX="135170" custLinFactNeighborX="7603" custLinFactNeighborY="5854">
        <dgm:presLayoutVars>
          <dgm:bulletEnabled val="1"/>
        </dgm:presLayoutVars>
      </dgm:prSet>
      <dgm:spPr/>
    </dgm:pt>
    <dgm:pt modelId="{344FB807-38F7-4CAD-A959-A5FCA83223F5}" type="pres">
      <dgm:prSet presAssocID="{DFBD3D8C-3E06-43B0-9E98-EC52E77CBF3B}" presName="spacing" presStyleCnt="0"/>
      <dgm:spPr/>
    </dgm:pt>
    <dgm:pt modelId="{DBB293B0-0168-46BD-842A-D77AAC5452EF}" type="pres">
      <dgm:prSet presAssocID="{52D9B8AF-FFF4-4736-85FB-1C4756CA9572}" presName="composite" presStyleCnt="0"/>
      <dgm:spPr/>
    </dgm:pt>
    <dgm:pt modelId="{2B8815EE-8E16-4B94-9A43-582FDABEA376}" type="pres">
      <dgm:prSet presAssocID="{52D9B8AF-FFF4-4736-85FB-1C4756CA9572}" presName="imgShp" presStyleLbl="fgImgPlace1" presStyleIdx="2" presStyleCnt="3" custLinFactNeighborX="-53186" custLinFactNeighborY="-5171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</dgm:spPr>
    </dgm:pt>
    <dgm:pt modelId="{8B7D3A15-85F3-4171-96D0-9BED0914AB08}" type="pres">
      <dgm:prSet presAssocID="{52D9B8AF-FFF4-4736-85FB-1C4756CA9572}" presName="txShp" presStyleLbl="node1" presStyleIdx="2" presStyleCnt="3" custScaleX="135698" custLinFactNeighborX="10521" custLinFactNeighborY="-5171">
        <dgm:presLayoutVars>
          <dgm:bulletEnabled val="1"/>
        </dgm:presLayoutVars>
      </dgm:prSet>
      <dgm:spPr/>
    </dgm:pt>
  </dgm:ptLst>
  <dgm:cxnLst>
    <dgm:cxn modelId="{BA97491B-EFCD-48AC-8CD8-E16EC13B8A18}" srcId="{10FFE8D9-2523-4D21-B683-665DC183BD34}" destId="{012CEA51-7305-48A0-AF33-E67B6539B7AE}" srcOrd="0" destOrd="0" parTransId="{ACE82B28-7AF3-4CAB-9823-DA86418B60AC}" sibTransId="{D9223FFA-252B-4506-8B97-F603CD3B4F50}"/>
    <dgm:cxn modelId="{CB5C7B1B-768F-4E1A-A415-4B0428C17640}" type="presOf" srcId="{52D9B8AF-FFF4-4736-85FB-1C4756CA9572}" destId="{8B7D3A15-85F3-4171-96D0-9BED0914AB08}" srcOrd="0" destOrd="0" presId="urn:microsoft.com/office/officeart/2005/8/layout/vList3"/>
    <dgm:cxn modelId="{1FF52E27-E43A-4254-86C1-FA108D9BF24F}" srcId="{10FFE8D9-2523-4D21-B683-665DC183BD34}" destId="{E7405B8F-AD5C-414B-90B3-CCD5F1A99E1D}" srcOrd="1" destOrd="0" parTransId="{6748EC12-2114-4DE6-ADD3-8CBBA0FF7104}" sibTransId="{DFBD3D8C-3E06-43B0-9E98-EC52E77CBF3B}"/>
    <dgm:cxn modelId="{402B8173-7056-4CF7-94F9-0C70B228B889}" type="presOf" srcId="{012CEA51-7305-48A0-AF33-E67B6539B7AE}" destId="{231C5DC9-3B94-4233-B75F-2F187107BF74}" srcOrd="0" destOrd="0" presId="urn:microsoft.com/office/officeart/2005/8/layout/vList3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B1FA6BB3-6B2E-4EB6-BFA9-B0C9C4C0794D}" srcId="{10FFE8D9-2523-4D21-B683-665DC183BD34}" destId="{52D9B8AF-FFF4-4736-85FB-1C4756CA9572}" srcOrd="2" destOrd="0" parTransId="{75026698-B741-4139-AA29-AC5951E6AC9C}" sibTransId="{9850A410-9A4F-4903-8C04-B681A6C60DAE}"/>
    <dgm:cxn modelId="{E3B825F5-CAB8-4235-A0B0-2A5C19F8761C}" type="presOf" srcId="{E7405B8F-AD5C-414B-90B3-CCD5F1A99E1D}" destId="{EA6993E9-8266-46BC-B04C-904098557E8E}" srcOrd="0" destOrd="0" presId="urn:microsoft.com/office/officeart/2005/8/layout/vList3"/>
    <dgm:cxn modelId="{45D7A004-B02F-4D19-84DE-1938FC30CA28}" type="presParOf" srcId="{F62C43F7-0315-498D-9E30-10F0A0B9BBD9}" destId="{8CB2BAA1-98E3-4649-A43C-DFF4FD76E75F}" srcOrd="0" destOrd="0" presId="urn:microsoft.com/office/officeart/2005/8/layout/vList3"/>
    <dgm:cxn modelId="{D9EC8B32-1D57-4AEB-8146-4479C7843D6F}" type="presParOf" srcId="{8CB2BAA1-98E3-4649-A43C-DFF4FD76E75F}" destId="{1DE9332B-C20E-4633-995B-D281F5209CC6}" srcOrd="0" destOrd="0" presId="urn:microsoft.com/office/officeart/2005/8/layout/vList3"/>
    <dgm:cxn modelId="{577DACD3-480F-4781-B7FA-92B721B469F0}" type="presParOf" srcId="{8CB2BAA1-98E3-4649-A43C-DFF4FD76E75F}" destId="{231C5DC9-3B94-4233-B75F-2F187107BF74}" srcOrd="1" destOrd="0" presId="urn:microsoft.com/office/officeart/2005/8/layout/vList3"/>
    <dgm:cxn modelId="{EA04B5EB-B11F-479E-8200-1FA195882ADE}" type="presParOf" srcId="{F62C43F7-0315-498D-9E30-10F0A0B9BBD9}" destId="{70B92CBE-4037-4CD5-B7CC-58B097DEE005}" srcOrd="1" destOrd="0" presId="urn:microsoft.com/office/officeart/2005/8/layout/vList3"/>
    <dgm:cxn modelId="{11377740-8E43-42A8-A96F-618BC077FE5F}" type="presParOf" srcId="{F62C43F7-0315-498D-9E30-10F0A0B9BBD9}" destId="{F7CAEC25-ABBA-4257-AE31-DCB9097CE404}" srcOrd="2" destOrd="0" presId="urn:microsoft.com/office/officeart/2005/8/layout/vList3"/>
    <dgm:cxn modelId="{554BF879-E317-41FE-B990-EC2A9E701036}" type="presParOf" srcId="{F7CAEC25-ABBA-4257-AE31-DCB9097CE404}" destId="{E2505A97-C61F-4AEC-B7CB-0B33D74D0143}" srcOrd="0" destOrd="0" presId="urn:microsoft.com/office/officeart/2005/8/layout/vList3"/>
    <dgm:cxn modelId="{5F59B758-C728-4B7E-AFFE-0467ABA8B837}" type="presParOf" srcId="{F7CAEC25-ABBA-4257-AE31-DCB9097CE404}" destId="{EA6993E9-8266-46BC-B04C-904098557E8E}" srcOrd="1" destOrd="0" presId="urn:microsoft.com/office/officeart/2005/8/layout/vList3"/>
    <dgm:cxn modelId="{466829AA-A86E-4C8E-A482-262C13FBFCD9}" type="presParOf" srcId="{F62C43F7-0315-498D-9E30-10F0A0B9BBD9}" destId="{344FB807-38F7-4CAD-A959-A5FCA83223F5}" srcOrd="3" destOrd="0" presId="urn:microsoft.com/office/officeart/2005/8/layout/vList3"/>
    <dgm:cxn modelId="{E92781BE-15A8-486E-9A8E-DD7D7F462619}" type="presParOf" srcId="{F62C43F7-0315-498D-9E30-10F0A0B9BBD9}" destId="{DBB293B0-0168-46BD-842A-D77AAC5452EF}" srcOrd="4" destOrd="0" presId="urn:microsoft.com/office/officeart/2005/8/layout/vList3"/>
    <dgm:cxn modelId="{284460FB-F3AD-4DAD-A5DA-0F48D34DE1BF}" type="presParOf" srcId="{DBB293B0-0168-46BD-842A-D77AAC5452EF}" destId="{2B8815EE-8E16-4B94-9A43-582FDABEA376}" srcOrd="0" destOrd="0" presId="urn:microsoft.com/office/officeart/2005/8/layout/vList3"/>
    <dgm:cxn modelId="{243C0792-1473-4594-8888-9FB859B2F298}" type="presParOf" srcId="{DBB293B0-0168-46BD-842A-D77AAC5452EF}" destId="{8B7D3A15-85F3-4171-96D0-9BED0914AB0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012CEA51-7305-48A0-AF33-E67B6539B7AE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NCD SCREEDING AT MASS VACCINATION SITE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Cambodia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provided screening for non-communicable diseases at COVID-19 mass vaccination sites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ACE82B28-7AF3-4CAB-9823-DA86418B60AC}" type="parTrans" cxnId="{BA97491B-EFCD-48AC-8CD8-E16EC13B8A18}">
      <dgm:prSet/>
      <dgm:spPr/>
      <dgm:t>
        <a:bodyPr/>
        <a:lstStyle/>
        <a:p>
          <a:endParaRPr lang="en-GB" sz="1800"/>
        </a:p>
      </dgm:t>
    </dgm:pt>
    <dgm:pt modelId="{D9223FFA-252B-4506-8B97-F603CD3B4F50}" type="sibTrans" cxnId="{BA97491B-EFCD-48AC-8CD8-E16EC13B8A18}">
      <dgm:prSet/>
      <dgm:spPr/>
      <dgm:t>
        <a:bodyPr/>
        <a:lstStyle/>
        <a:p>
          <a:endParaRPr lang="en-GB" sz="1800"/>
        </a:p>
      </dgm:t>
    </dgm:pt>
    <dgm:pt modelId="{E7405B8F-AD5C-414B-90B3-CCD5F1A99E1D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WHOLE FAMILY APPROACH TO COVID-19 VACCINATION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Nigeria: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some states adopted a whole family approach combining COVID-19 vaccination with, nutritional and NCD screening and essential vaccines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6748EC12-2114-4DE6-ADD3-8CBBA0FF7104}" type="parTrans" cxnId="{1FF52E27-E43A-4254-86C1-FA108D9BF24F}">
      <dgm:prSet/>
      <dgm:spPr/>
      <dgm:t>
        <a:bodyPr/>
        <a:lstStyle/>
        <a:p>
          <a:endParaRPr lang="en-GB" sz="1800"/>
        </a:p>
      </dgm:t>
    </dgm:pt>
    <dgm:pt modelId="{DFBD3D8C-3E06-43B0-9E98-EC52E77CBF3B}" type="sibTrans" cxnId="{1FF52E27-E43A-4254-86C1-FA108D9BF24F}">
      <dgm:prSet/>
      <dgm:spPr/>
      <dgm:t>
        <a:bodyPr/>
        <a:lstStyle/>
        <a:p>
          <a:endParaRPr lang="en-GB" sz="1800"/>
        </a:p>
      </dgm:t>
    </dgm:pt>
    <dgm:pt modelId="{52D9B8AF-FFF4-4736-85FB-1C4756CA9572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ING COVID-19 VACCINATION WITH NCD SCREENING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Panama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provided NCD and cervical cancer screening along with COVID-19 vaccination during the Vaccine Week in the Americas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75026698-B741-4139-AA29-AC5951E6AC9C}" type="parTrans" cxnId="{B1FA6BB3-6B2E-4EB6-BFA9-B0C9C4C0794D}">
      <dgm:prSet/>
      <dgm:spPr/>
      <dgm:t>
        <a:bodyPr/>
        <a:lstStyle/>
        <a:p>
          <a:endParaRPr lang="en-GB" sz="1800"/>
        </a:p>
      </dgm:t>
    </dgm:pt>
    <dgm:pt modelId="{9850A410-9A4F-4903-8C04-B681A6C60DAE}" type="sibTrans" cxnId="{B1FA6BB3-6B2E-4EB6-BFA9-B0C9C4C0794D}">
      <dgm:prSet/>
      <dgm:spPr/>
      <dgm:t>
        <a:bodyPr/>
        <a:lstStyle/>
        <a:p>
          <a:endParaRPr lang="en-GB" sz="1800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8CB2BAA1-98E3-4649-A43C-DFF4FD76E75F}" type="pres">
      <dgm:prSet presAssocID="{012CEA51-7305-48A0-AF33-E67B6539B7AE}" presName="composite" presStyleCnt="0"/>
      <dgm:spPr/>
    </dgm:pt>
    <dgm:pt modelId="{1DE9332B-C20E-4633-995B-D281F5209CC6}" type="pres">
      <dgm:prSet presAssocID="{012CEA51-7305-48A0-AF33-E67B6539B7AE}" presName="imgShp" presStyleLbl="fgImgPlace1" presStyleIdx="0" presStyleCnt="3" custScaleX="95015" custScaleY="98781" custLinFactNeighborX="-31775" custLinFactNeighborY="5882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</dgm:spPr>
    </dgm:pt>
    <dgm:pt modelId="{231C5DC9-3B94-4233-B75F-2F187107BF74}" type="pres">
      <dgm:prSet presAssocID="{012CEA51-7305-48A0-AF33-E67B6539B7AE}" presName="txShp" presStyleLbl="node1" presStyleIdx="0" presStyleCnt="3" custScaleX="133540" custLinFactNeighborX="4584" custLinFactNeighborY="5127">
        <dgm:presLayoutVars>
          <dgm:bulletEnabled val="1"/>
        </dgm:presLayoutVars>
      </dgm:prSet>
      <dgm:spPr/>
    </dgm:pt>
    <dgm:pt modelId="{70B92CBE-4037-4CD5-B7CC-58B097DEE005}" type="pres">
      <dgm:prSet presAssocID="{D9223FFA-252B-4506-8B97-F603CD3B4F50}" presName="spacing" presStyleCnt="0"/>
      <dgm:spPr/>
    </dgm:pt>
    <dgm:pt modelId="{F7CAEC25-ABBA-4257-AE31-DCB9097CE404}" type="pres">
      <dgm:prSet presAssocID="{E7405B8F-AD5C-414B-90B3-CCD5F1A99E1D}" presName="composite" presStyleCnt="0"/>
      <dgm:spPr/>
    </dgm:pt>
    <dgm:pt modelId="{E2505A97-C61F-4AEC-B7CB-0B33D74D0143}" type="pres">
      <dgm:prSet presAssocID="{E7405B8F-AD5C-414B-90B3-CCD5F1A99E1D}" presName="imgShp" presStyleLbl="fgImgPlace1" presStyleIdx="1" presStyleCnt="3" custLinFactNeighborX="-51252" custLinFactNeighborY="-2901"/>
      <dgm:spPr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EA6993E9-8266-46BC-B04C-904098557E8E}" type="pres">
      <dgm:prSet presAssocID="{E7405B8F-AD5C-414B-90B3-CCD5F1A99E1D}" presName="txShp" presStyleLbl="node1" presStyleIdx="1" presStyleCnt="3" custScaleX="133540" custLinFactNeighborX="5567">
        <dgm:presLayoutVars>
          <dgm:bulletEnabled val="1"/>
        </dgm:presLayoutVars>
      </dgm:prSet>
      <dgm:spPr/>
    </dgm:pt>
    <dgm:pt modelId="{344FB807-38F7-4CAD-A959-A5FCA83223F5}" type="pres">
      <dgm:prSet presAssocID="{DFBD3D8C-3E06-43B0-9E98-EC52E77CBF3B}" presName="spacing" presStyleCnt="0"/>
      <dgm:spPr/>
    </dgm:pt>
    <dgm:pt modelId="{DBB293B0-0168-46BD-842A-D77AAC5452EF}" type="pres">
      <dgm:prSet presAssocID="{52D9B8AF-FFF4-4736-85FB-1C4756CA9572}" presName="composite" presStyleCnt="0"/>
      <dgm:spPr/>
    </dgm:pt>
    <dgm:pt modelId="{2B8815EE-8E16-4B94-9A43-582FDABEA376}" type="pres">
      <dgm:prSet presAssocID="{52D9B8AF-FFF4-4736-85FB-1C4756CA9572}" presName="imgShp" presStyleLbl="fgImgPlace1" presStyleIdx="2" presStyleCnt="3" custLinFactNeighborX="-51252" custLinFactNeighborY="-2901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8B7D3A15-85F3-4171-96D0-9BED0914AB08}" type="pres">
      <dgm:prSet presAssocID="{52D9B8AF-FFF4-4736-85FB-1C4756CA9572}" presName="txShp" presStyleLbl="node1" presStyleIdx="2" presStyleCnt="3" custScaleX="133540" custLinFactNeighborX="5567">
        <dgm:presLayoutVars>
          <dgm:bulletEnabled val="1"/>
        </dgm:presLayoutVars>
      </dgm:prSet>
      <dgm:spPr/>
    </dgm:pt>
  </dgm:ptLst>
  <dgm:cxnLst>
    <dgm:cxn modelId="{BA97491B-EFCD-48AC-8CD8-E16EC13B8A18}" srcId="{10FFE8D9-2523-4D21-B683-665DC183BD34}" destId="{012CEA51-7305-48A0-AF33-E67B6539B7AE}" srcOrd="0" destOrd="0" parTransId="{ACE82B28-7AF3-4CAB-9823-DA86418B60AC}" sibTransId="{D9223FFA-252B-4506-8B97-F603CD3B4F50}"/>
    <dgm:cxn modelId="{CB5C7B1B-768F-4E1A-A415-4B0428C17640}" type="presOf" srcId="{52D9B8AF-FFF4-4736-85FB-1C4756CA9572}" destId="{8B7D3A15-85F3-4171-96D0-9BED0914AB08}" srcOrd="0" destOrd="0" presId="urn:microsoft.com/office/officeart/2005/8/layout/vList3"/>
    <dgm:cxn modelId="{1FF52E27-E43A-4254-86C1-FA108D9BF24F}" srcId="{10FFE8D9-2523-4D21-B683-665DC183BD34}" destId="{E7405B8F-AD5C-414B-90B3-CCD5F1A99E1D}" srcOrd="1" destOrd="0" parTransId="{6748EC12-2114-4DE6-ADD3-8CBBA0FF7104}" sibTransId="{DFBD3D8C-3E06-43B0-9E98-EC52E77CBF3B}"/>
    <dgm:cxn modelId="{402B8173-7056-4CF7-94F9-0C70B228B889}" type="presOf" srcId="{012CEA51-7305-48A0-AF33-E67B6539B7AE}" destId="{231C5DC9-3B94-4233-B75F-2F187107BF74}" srcOrd="0" destOrd="0" presId="urn:microsoft.com/office/officeart/2005/8/layout/vList3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B1FA6BB3-6B2E-4EB6-BFA9-B0C9C4C0794D}" srcId="{10FFE8D9-2523-4D21-B683-665DC183BD34}" destId="{52D9B8AF-FFF4-4736-85FB-1C4756CA9572}" srcOrd="2" destOrd="0" parTransId="{75026698-B741-4139-AA29-AC5951E6AC9C}" sibTransId="{9850A410-9A4F-4903-8C04-B681A6C60DAE}"/>
    <dgm:cxn modelId="{E3B825F5-CAB8-4235-A0B0-2A5C19F8761C}" type="presOf" srcId="{E7405B8F-AD5C-414B-90B3-CCD5F1A99E1D}" destId="{EA6993E9-8266-46BC-B04C-904098557E8E}" srcOrd="0" destOrd="0" presId="urn:microsoft.com/office/officeart/2005/8/layout/vList3"/>
    <dgm:cxn modelId="{45D7A004-B02F-4D19-84DE-1938FC30CA28}" type="presParOf" srcId="{F62C43F7-0315-498D-9E30-10F0A0B9BBD9}" destId="{8CB2BAA1-98E3-4649-A43C-DFF4FD76E75F}" srcOrd="0" destOrd="0" presId="urn:microsoft.com/office/officeart/2005/8/layout/vList3"/>
    <dgm:cxn modelId="{D9EC8B32-1D57-4AEB-8146-4479C7843D6F}" type="presParOf" srcId="{8CB2BAA1-98E3-4649-A43C-DFF4FD76E75F}" destId="{1DE9332B-C20E-4633-995B-D281F5209CC6}" srcOrd="0" destOrd="0" presId="urn:microsoft.com/office/officeart/2005/8/layout/vList3"/>
    <dgm:cxn modelId="{577DACD3-480F-4781-B7FA-92B721B469F0}" type="presParOf" srcId="{8CB2BAA1-98E3-4649-A43C-DFF4FD76E75F}" destId="{231C5DC9-3B94-4233-B75F-2F187107BF74}" srcOrd="1" destOrd="0" presId="urn:microsoft.com/office/officeart/2005/8/layout/vList3"/>
    <dgm:cxn modelId="{EA04B5EB-B11F-479E-8200-1FA195882ADE}" type="presParOf" srcId="{F62C43F7-0315-498D-9E30-10F0A0B9BBD9}" destId="{70B92CBE-4037-4CD5-B7CC-58B097DEE005}" srcOrd="1" destOrd="0" presId="urn:microsoft.com/office/officeart/2005/8/layout/vList3"/>
    <dgm:cxn modelId="{11377740-8E43-42A8-A96F-618BC077FE5F}" type="presParOf" srcId="{F62C43F7-0315-498D-9E30-10F0A0B9BBD9}" destId="{F7CAEC25-ABBA-4257-AE31-DCB9097CE404}" srcOrd="2" destOrd="0" presId="urn:microsoft.com/office/officeart/2005/8/layout/vList3"/>
    <dgm:cxn modelId="{554BF879-E317-41FE-B990-EC2A9E701036}" type="presParOf" srcId="{F7CAEC25-ABBA-4257-AE31-DCB9097CE404}" destId="{E2505A97-C61F-4AEC-B7CB-0B33D74D0143}" srcOrd="0" destOrd="0" presId="urn:microsoft.com/office/officeart/2005/8/layout/vList3"/>
    <dgm:cxn modelId="{5F59B758-C728-4B7E-AFFE-0467ABA8B837}" type="presParOf" srcId="{F7CAEC25-ABBA-4257-AE31-DCB9097CE404}" destId="{EA6993E9-8266-46BC-B04C-904098557E8E}" srcOrd="1" destOrd="0" presId="urn:microsoft.com/office/officeart/2005/8/layout/vList3"/>
    <dgm:cxn modelId="{466829AA-A86E-4C8E-A482-262C13FBFCD9}" type="presParOf" srcId="{F62C43F7-0315-498D-9E30-10F0A0B9BBD9}" destId="{344FB807-38F7-4CAD-A959-A5FCA83223F5}" srcOrd="3" destOrd="0" presId="urn:microsoft.com/office/officeart/2005/8/layout/vList3"/>
    <dgm:cxn modelId="{E92781BE-15A8-486E-9A8E-DD7D7F462619}" type="presParOf" srcId="{F62C43F7-0315-498D-9E30-10F0A0B9BBD9}" destId="{DBB293B0-0168-46BD-842A-D77AAC5452EF}" srcOrd="4" destOrd="0" presId="urn:microsoft.com/office/officeart/2005/8/layout/vList3"/>
    <dgm:cxn modelId="{284460FB-F3AD-4DAD-A5DA-0F48D34DE1BF}" type="presParOf" srcId="{DBB293B0-0168-46BD-842A-D77AAC5452EF}" destId="{2B8815EE-8E16-4B94-9A43-582FDABEA376}" srcOrd="0" destOrd="0" presId="urn:microsoft.com/office/officeart/2005/8/layout/vList3"/>
    <dgm:cxn modelId="{243C0792-1473-4594-8888-9FB859B2F298}" type="presParOf" srcId="{DBB293B0-0168-46BD-842A-D77AAC5452EF}" destId="{8B7D3A15-85F3-4171-96D0-9BED0914AB0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E7405B8F-AD5C-414B-90B3-CCD5F1A99E1D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algn="l">
            <a:buNone/>
          </a:pPr>
          <a:r>
            <a:rPr lang="en-US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PARTNERING WITH OTHER PROGRAMMES</a:t>
          </a:r>
        </a:p>
        <a:p>
          <a:pPr algn="l">
            <a:buNone/>
          </a:pPr>
          <a:r>
            <a:rPr lang="en-US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The United Republic of Tanzania </a:t>
          </a:r>
          <a:r>
            <a:rPr lang="en-US" sz="13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partnered with the HIV programme and with physicians treating NCDs to provide COVID-19 vaccination in the respective clinics along with clinical care.</a:t>
          </a:r>
          <a:endParaRPr lang="en-GB" sz="13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6748EC12-2114-4DE6-ADD3-8CBBA0FF7104}" type="parTrans" cxnId="{1FF52E27-E43A-4254-86C1-FA108D9BF24F}">
      <dgm:prSet/>
      <dgm:spPr/>
      <dgm:t>
        <a:bodyPr/>
        <a:lstStyle/>
        <a:p>
          <a:endParaRPr lang="en-GB" sz="2000"/>
        </a:p>
      </dgm:t>
    </dgm:pt>
    <dgm:pt modelId="{DFBD3D8C-3E06-43B0-9E98-EC52E77CBF3B}" type="sibTrans" cxnId="{1FF52E27-E43A-4254-86C1-FA108D9BF24F}">
      <dgm:prSet/>
      <dgm:spPr/>
      <dgm:t>
        <a:bodyPr/>
        <a:lstStyle/>
        <a:p>
          <a:endParaRPr lang="en-GB" sz="2000"/>
        </a:p>
      </dgm:t>
    </dgm:pt>
    <dgm:pt modelId="{8B790E80-95F2-46A5-846E-A89CFA11071C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algn="l">
            <a:buNone/>
          </a:pPr>
          <a:r>
            <a:rPr lang="en-US" sz="1300" b="1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ION OF COVID-19 VACCINATION &amp; TESTING</a:t>
          </a:r>
        </a:p>
        <a:p>
          <a:pPr algn="l">
            <a:buNone/>
          </a:pPr>
          <a:r>
            <a:rPr lang="en-US" sz="1300" b="1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Liberia </a:t>
          </a:r>
          <a:r>
            <a:rPr lang="en-US" sz="1300" b="0" dirty="0">
              <a:solidFill>
                <a:schemeClr val="tx1"/>
              </a:solidFill>
              <a:latin typeface="Arial"/>
              <a:ea typeface="+mn-ea"/>
              <a:cs typeface="+mn-cs"/>
            </a:rPr>
            <a:t>integrated COVID-19 vaccination and testing in the same facilities to improve vaccination uptake.</a:t>
          </a:r>
          <a:endParaRPr lang="en-US" sz="1300" b="1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  <a:p>
          <a:pPr algn="l">
            <a:buNone/>
          </a:pPr>
          <a:endParaRPr lang="en-US" sz="1300" b="1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23DA7EA4-D2FE-401B-9FA6-931B11F571F2}" type="parTrans" cxnId="{20797B67-4115-4FD5-9A91-EDB8E6D6A1F7}">
      <dgm:prSet/>
      <dgm:spPr/>
      <dgm:t>
        <a:bodyPr/>
        <a:lstStyle/>
        <a:p>
          <a:endParaRPr lang="en-GB"/>
        </a:p>
      </dgm:t>
    </dgm:pt>
    <dgm:pt modelId="{4799DC8D-EDFA-4AFB-98AD-0B152C91D85C}" type="sibTrans" cxnId="{20797B67-4115-4FD5-9A91-EDB8E6D6A1F7}">
      <dgm:prSet/>
      <dgm:spPr/>
      <dgm:t>
        <a:bodyPr/>
        <a:lstStyle/>
        <a:p>
          <a:endParaRPr lang="en-GB"/>
        </a:p>
      </dgm:t>
    </dgm:pt>
    <dgm:pt modelId="{D9EB21B5-D78C-4487-8DCD-2C452F7F88D4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algn="l">
            <a:buNone/>
          </a:pPr>
          <a:r>
            <a:rPr lang="en-US" sz="1300" b="1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ED SERVICE DELIVERY</a:t>
          </a:r>
        </a:p>
        <a:p>
          <a:pPr algn="l">
            <a:buNone/>
          </a:pPr>
          <a:r>
            <a:rPr lang="en-US" sz="1300" b="1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Somalia: </a:t>
          </a:r>
          <a:r>
            <a:rPr lang="en-US" sz="1300" b="0" dirty="0">
              <a:solidFill>
                <a:schemeClr val="tx1"/>
              </a:solidFill>
              <a:latin typeface="Arial"/>
              <a:ea typeface="+mn-ea"/>
              <a:cs typeface="+mn-cs"/>
            </a:rPr>
            <a:t>integrated outreach programmes provided COVID-19 vaccines along with other essential vaccines, vitamin A, zinc, ORS packets, and medical consultation to eligible persons in the community</a:t>
          </a:r>
          <a:endParaRPr lang="en-US" sz="1300" b="1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71D781B0-01F1-4197-88E4-F1FCA336DC3D}" type="parTrans" cxnId="{B7B18C97-AEF9-4CB8-B05C-5BE79DA9C26D}">
      <dgm:prSet/>
      <dgm:spPr/>
      <dgm:t>
        <a:bodyPr/>
        <a:lstStyle/>
        <a:p>
          <a:endParaRPr lang="en-GB"/>
        </a:p>
      </dgm:t>
    </dgm:pt>
    <dgm:pt modelId="{BD159E09-B58F-4270-9BA0-74E559987415}" type="sibTrans" cxnId="{B7B18C97-AEF9-4CB8-B05C-5BE79DA9C26D}">
      <dgm:prSet/>
      <dgm:spPr/>
      <dgm:t>
        <a:bodyPr/>
        <a:lstStyle/>
        <a:p>
          <a:endParaRPr lang="en-GB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F7CAEC25-ABBA-4257-AE31-DCB9097CE404}" type="pres">
      <dgm:prSet presAssocID="{E7405B8F-AD5C-414B-90B3-CCD5F1A99E1D}" presName="composite" presStyleCnt="0"/>
      <dgm:spPr/>
    </dgm:pt>
    <dgm:pt modelId="{E2505A97-C61F-4AEC-B7CB-0B33D74D0143}" type="pres">
      <dgm:prSet presAssocID="{E7405B8F-AD5C-414B-90B3-CCD5F1A99E1D}" presName="imgShp" presStyleLbl="fgImgPlace1" presStyleIdx="0" presStyleCnt="3" custScaleX="68483" custScaleY="66809" custLinFactNeighborX="-5969" custLinFactNeighborY="-28975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</dgm:spPr>
    </dgm:pt>
    <dgm:pt modelId="{EA6993E9-8266-46BC-B04C-904098557E8E}" type="pres">
      <dgm:prSet presAssocID="{E7405B8F-AD5C-414B-90B3-CCD5F1A99E1D}" presName="txShp" presStyleLbl="node1" presStyleIdx="0" presStyleCnt="3" custScaleX="135170" custScaleY="76870" custLinFactNeighborX="7428" custLinFactNeighborY="-57244">
        <dgm:presLayoutVars>
          <dgm:bulletEnabled val="1"/>
        </dgm:presLayoutVars>
      </dgm:prSet>
      <dgm:spPr/>
    </dgm:pt>
    <dgm:pt modelId="{A953249A-1194-407E-BB7C-E3E93480BF7B}" type="pres">
      <dgm:prSet presAssocID="{DFBD3D8C-3E06-43B0-9E98-EC52E77CBF3B}" presName="spacing" presStyleCnt="0"/>
      <dgm:spPr/>
    </dgm:pt>
    <dgm:pt modelId="{C6BFDB17-619D-4298-9587-C471CCB431F9}" type="pres">
      <dgm:prSet presAssocID="{8B790E80-95F2-46A5-846E-A89CFA11071C}" presName="composite" presStyleCnt="0"/>
      <dgm:spPr/>
    </dgm:pt>
    <dgm:pt modelId="{2EBDBC15-13E2-45C5-B4B0-E97544CE06C1}" type="pres">
      <dgm:prSet presAssocID="{8B790E80-95F2-46A5-846E-A89CFA11071C}" presName="imgShp" presStyleLbl="fgImgPlace1" presStyleIdx="1" presStyleCnt="3" custScaleX="69165" custScaleY="70520" custLinFactNeighborX="-16107" custLinFactNeighborY="-4749"/>
      <dgm:spPr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</dgm:spPr>
    </dgm:pt>
    <dgm:pt modelId="{8F65AD57-87B0-45D7-BBAE-C54BF5628A3E}" type="pres">
      <dgm:prSet presAssocID="{8B790E80-95F2-46A5-846E-A89CFA11071C}" presName="txShp" presStyleLbl="node1" presStyleIdx="1" presStyleCnt="3" custScaleX="135170" custScaleY="84816" custLinFactNeighborX="6092" custLinFactNeighborY="-6301">
        <dgm:presLayoutVars>
          <dgm:bulletEnabled val="1"/>
        </dgm:presLayoutVars>
      </dgm:prSet>
      <dgm:spPr/>
    </dgm:pt>
    <dgm:pt modelId="{DD2496FE-B79B-4323-BB06-317A5F9E3BF8}" type="pres">
      <dgm:prSet presAssocID="{4799DC8D-EDFA-4AFB-98AD-0B152C91D85C}" presName="spacing" presStyleCnt="0"/>
      <dgm:spPr/>
    </dgm:pt>
    <dgm:pt modelId="{1833AB19-FE17-4680-8457-8BF89C68B310}" type="pres">
      <dgm:prSet presAssocID="{D9EB21B5-D78C-4487-8DCD-2C452F7F88D4}" presName="composite" presStyleCnt="0"/>
      <dgm:spPr/>
    </dgm:pt>
    <dgm:pt modelId="{9172B01B-0B73-482F-AC73-E473C893B21A}" type="pres">
      <dgm:prSet presAssocID="{D9EB21B5-D78C-4487-8DCD-2C452F7F88D4}" presName="imgShp" presStyleLbl="fgImgPlace1" presStyleIdx="2" presStyleCnt="3" custScaleX="69921" custScaleY="69956" custLinFactNeighborX="-18444" custLinFactNeighborY="-10073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CD4F5A15-6819-4864-A9C4-207CBD3F2602}" type="pres">
      <dgm:prSet presAssocID="{D9EB21B5-D78C-4487-8DCD-2C452F7F88D4}" presName="txShp" presStyleLbl="node1" presStyleIdx="2" presStyleCnt="3" custScaleX="135170" custScaleY="86494" custLinFactNeighborX="5077" custLinFactNeighborY="-8995">
        <dgm:presLayoutVars>
          <dgm:bulletEnabled val="1"/>
        </dgm:presLayoutVars>
      </dgm:prSet>
      <dgm:spPr/>
    </dgm:pt>
  </dgm:ptLst>
  <dgm:cxnLst>
    <dgm:cxn modelId="{1FF52E27-E43A-4254-86C1-FA108D9BF24F}" srcId="{10FFE8D9-2523-4D21-B683-665DC183BD34}" destId="{E7405B8F-AD5C-414B-90B3-CCD5F1A99E1D}" srcOrd="0" destOrd="0" parTransId="{6748EC12-2114-4DE6-ADD3-8CBBA0FF7104}" sibTransId="{DFBD3D8C-3E06-43B0-9E98-EC52E77CBF3B}"/>
    <dgm:cxn modelId="{8A9F7F66-B565-461E-A1F4-968F25C71F9C}" type="presOf" srcId="{D9EB21B5-D78C-4487-8DCD-2C452F7F88D4}" destId="{CD4F5A15-6819-4864-A9C4-207CBD3F2602}" srcOrd="0" destOrd="0" presId="urn:microsoft.com/office/officeart/2005/8/layout/vList3"/>
    <dgm:cxn modelId="{20797B67-4115-4FD5-9A91-EDB8E6D6A1F7}" srcId="{10FFE8D9-2523-4D21-B683-665DC183BD34}" destId="{8B790E80-95F2-46A5-846E-A89CFA11071C}" srcOrd="1" destOrd="0" parTransId="{23DA7EA4-D2FE-401B-9FA6-931B11F571F2}" sibTransId="{4799DC8D-EDFA-4AFB-98AD-0B152C91D85C}"/>
    <dgm:cxn modelId="{B7B18C97-AEF9-4CB8-B05C-5BE79DA9C26D}" srcId="{10FFE8D9-2523-4D21-B683-665DC183BD34}" destId="{D9EB21B5-D78C-4487-8DCD-2C452F7F88D4}" srcOrd="2" destOrd="0" parTransId="{71D781B0-01F1-4197-88E4-F1FCA336DC3D}" sibTransId="{BD159E09-B58F-4270-9BA0-74E559987415}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644C48AF-9012-45E2-855D-F85598D6BFA0}" type="presOf" srcId="{8B790E80-95F2-46A5-846E-A89CFA11071C}" destId="{8F65AD57-87B0-45D7-BBAE-C54BF5628A3E}" srcOrd="0" destOrd="0" presId="urn:microsoft.com/office/officeart/2005/8/layout/vList3"/>
    <dgm:cxn modelId="{E3B825F5-CAB8-4235-A0B0-2A5C19F8761C}" type="presOf" srcId="{E7405B8F-AD5C-414B-90B3-CCD5F1A99E1D}" destId="{EA6993E9-8266-46BC-B04C-904098557E8E}" srcOrd="0" destOrd="0" presId="urn:microsoft.com/office/officeart/2005/8/layout/vList3"/>
    <dgm:cxn modelId="{11377740-8E43-42A8-A96F-618BC077FE5F}" type="presParOf" srcId="{F62C43F7-0315-498D-9E30-10F0A0B9BBD9}" destId="{F7CAEC25-ABBA-4257-AE31-DCB9097CE404}" srcOrd="0" destOrd="0" presId="urn:microsoft.com/office/officeart/2005/8/layout/vList3"/>
    <dgm:cxn modelId="{554BF879-E317-41FE-B990-EC2A9E701036}" type="presParOf" srcId="{F7CAEC25-ABBA-4257-AE31-DCB9097CE404}" destId="{E2505A97-C61F-4AEC-B7CB-0B33D74D0143}" srcOrd="0" destOrd="0" presId="urn:microsoft.com/office/officeart/2005/8/layout/vList3"/>
    <dgm:cxn modelId="{5F59B758-C728-4B7E-AFFE-0467ABA8B837}" type="presParOf" srcId="{F7CAEC25-ABBA-4257-AE31-DCB9097CE404}" destId="{EA6993E9-8266-46BC-B04C-904098557E8E}" srcOrd="1" destOrd="0" presId="urn:microsoft.com/office/officeart/2005/8/layout/vList3"/>
    <dgm:cxn modelId="{8F348402-00B8-4F59-856F-4FB574D53396}" type="presParOf" srcId="{F62C43F7-0315-498D-9E30-10F0A0B9BBD9}" destId="{A953249A-1194-407E-BB7C-E3E93480BF7B}" srcOrd="1" destOrd="0" presId="urn:microsoft.com/office/officeart/2005/8/layout/vList3"/>
    <dgm:cxn modelId="{BED47886-FD33-4A63-B273-8B4273C175C5}" type="presParOf" srcId="{F62C43F7-0315-498D-9E30-10F0A0B9BBD9}" destId="{C6BFDB17-619D-4298-9587-C471CCB431F9}" srcOrd="2" destOrd="0" presId="urn:microsoft.com/office/officeart/2005/8/layout/vList3"/>
    <dgm:cxn modelId="{59EF4D4F-E692-4A0D-BF60-E08D9FD3AF7B}" type="presParOf" srcId="{C6BFDB17-619D-4298-9587-C471CCB431F9}" destId="{2EBDBC15-13E2-45C5-B4B0-E97544CE06C1}" srcOrd="0" destOrd="0" presId="urn:microsoft.com/office/officeart/2005/8/layout/vList3"/>
    <dgm:cxn modelId="{2EC9CD88-049F-4143-85EF-928921870252}" type="presParOf" srcId="{C6BFDB17-619D-4298-9587-C471CCB431F9}" destId="{8F65AD57-87B0-45D7-BBAE-C54BF5628A3E}" srcOrd="1" destOrd="0" presId="urn:microsoft.com/office/officeart/2005/8/layout/vList3"/>
    <dgm:cxn modelId="{1766BE5F-4498-4BBB-9A9E-81B59F115A51}" type="presParOf" srcId="{F62C43F7-0315-498D-9E30-10F0A0B9BBD9}" destId="{DD2496FE-B79B-4323-BB06-317A5F9E3BF8}" srcOrd="3" destOrd="0" presId="urn:microsoft.com/office/officeart/2005/8/layout/vList3"/>
    <dgm:cxn modelId="{1E3481C9-F1C3-4C75-BA07-2CF1E8F1AFF0}" type="presParOf" srcId="{F62C43F7-0315-498D-9E30-10F0A0B9BBD9}" destId="{1833AB19-FE17-4680-8457-8BF89C68B310}" srcOrd="4" destOrd="0" presId="urn:microsoft.com/office/officeart/2005/8/layout/vList3"/>
    <dgm:cxn modelId="{E006DE45-751B-48D0-9161-6F47309F24F8}" type="presParOf" srcId="{1833AB19-FE17-4680-8457-8BF89C68B310}" destId="{9172B01B-0B73-482F-AC73-E473C893B21A}" srcOrd="0" destOrd="0" presId="urn:microsoft.com/office/officeart/2005/8/layout/vList3"/>
    <dgm:cxn modelId="{F1093891-29B1-47F7-B63F-87504EDB4998}" type="presParOf" srcId="{1833AB19-FE17-4680-8457-8BF89C68B310}" destId="{CD4F5A15-6819-4864-A9C4-207CBD3F2602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52D9B8AF-FFF4-4736-85FB-1C4756CA9572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ED DELIVERY WITH ESSENTIAL VACCINE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accent2">
                  <a:lumMod val="50000"/>
                </a:schemeClr>
              </a:solidFill>
            </a:rPr>
            <a:t>Honduras and Yemen</a:t>
          </a:r>
          <a:r>
            <a:rPr lang="en-US" sz="1400" b="1" kern="1200" dirty="0"/>
            <a:t>:</a:t>
          </a:r>
          <a:r>
            <a:rPr lang="en-US" sz="1400" kern="1200" dirty="0"/>
            <a:t> All health facilities offer COVID-19 vaccines and other essential vaccines for adults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75026698-B741-4139-AA29-AC5951E6AC9C}" type="parTrans" cxnId="{B1FA6BB3-6B2E-4EB6-BFA9-B0C9C4C0794D}">
      <dgm:prSet/>
      <dgm:spPr/>
      <dgm:t>
        <a:bodyPr/>
        <a:lstStyle/>
        <a:p>
          <a:endParaRPr lang="en-GB" sz="1800"/>
        </a:p>
      </dgm:t>
    </dgm:pt>
    <dgm:pt modelId="{9850A410-9A4F-4903-8C04-B681A6C60DAE}" type="sibTrans" cxnId="{B1FA6BB3-6B2E-4EB6-BFA9-B0C9C4C0794D}">
      <dgm:prSet/>
      <dgm:spPr/>
      <dgm:t>
        <a:bodyPr/>
        <a:lstStyle/>
        <a:p>
          <a:endParaRPr lang="en-GB" sz="1800"/>
        </a:p>
      </dgm:t>
    </dgm:pt>
    <dgm:pt modelId="{298FFF9F-EF0B-4236-BAC4-E4BA57F31280}">
      <dgm:prSet phldrT="[Text]" custT="1">
        <dgm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dgm:style>
      </dgm:prSet>
      <dgm:spPr/>
      <dgm:t>
        <a:bodyPr/>
        <a:lstStyle/>
        <a:p>
          <a:pPr algn="l">
            <a:buNone/>
          </a:pPr>
          <a:r>
            <a:rPr lang="en-GB" sz="1300" b="1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ED DELIVERY WITH ANC</a:t>
          </a:r>
        </a:p>
        <a:p>
          <a:pPr algn="l">
            <a:buNone/>
          </a:pPr>
          <a:r>
            <a:rPr lang="en-GB" sz="1300" b="1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Fiji </a:t>
          </a:r>
          <a:r>
            <a:rPr lang="en-GB" sz="1300" b="0" dirty="0">
              <a:solidFill>
                <a:schemeClr val="tx1"/>
              </a:solidFill>
              <a:latin typeface="Arial"/>
              <a:ea typeface="+mn-ea"/>
              <a:cs typeface="+mn-cs"/>
            </a:rPr>
            <a:t>integrated COVID-19 vaccination with antenatal care services to allay fears among pregnant women about the safety of vaccines and improve uptake</a:t>
          </a:r>
          <a:r>
            <a:rPr lang="en-GB" sz="1300" b="1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 </a:t>
          </a:r>
        </a:p>
        <a:p>
          <a:pPr algn="l">
            <a:buNone/>
          </a:pPr>
          <a:endParaRPr lang="en-GB" sz="1300" b="1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gm:t>
    </dgm:pt>
    <dgm:pt modelId="{D991B7F1-0E1B-4799-8A3C-19B22F9DE6B5}" type="parTrans" cxnId="{7DE08D96-2B23-4402-BD60-15B766491036}">
      <dgm:prSet/>
      <dgm:spPr/>
      <dgm:t>
        <a:bodyPr/>
        <a:lstStyle/>
        <a:p>
          <a:endParaRPr lang="en-GB"/>
        </a:p>
      </dgm:t>
    </dgm:pt>
    <dgm:pt modelId="{EAD06361-31F1-41AA-A3B8-2448CD61C3E3}" type="sibTrans" cxnId="{7DE08D96-2B23-4402-BD60-15B766491036}">
      <dgm:prSet/>
      <dgm:spPr/>
      <dgm:t>
        <a:bodyPr/>
        <a:lstStyle/>
        <a:p>
          <a:endParaRPr lang="en-GB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DBB293B0-0168-46BD-842A-D77AAC5452EF}" type="pres">
      <dgm:prSet presAssocID="{52D9B8AF-FFF4-4736-85FB-1C4756CA9572}" presName="composite" presStyleCnt="0"/>
      <dgm:spPr/>
    </dgm:pt>
    <dgm:pt modelId="{2B8815EE-8E16-4B94-9A43-582FDABEA376}" type="pres">
      <dgm:prSet presAssocID="{52D9B8AF-FFF4-4736-85FB-1C4756CA9572}" presName="imgShp" presStyleLbl="fgImgPlace1" presStyleIdx="0" presStyleCnt="2" custScaleX="59094" custScaleY="66042" custLinFactNeighborX="-11051" custLinFactNeighborY="-12023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</dgm:spPr>
    </dgm:pt>
    <dgm:pt modelId="{8B7D3A15-85F3-4171-96D0-9BED0914AB08}" type="pres">
      <dgm:prSet presAssocID="{52D9B8AF-FFF4-4736-85FB-1C4756CA9572}" presName="txShp" presStyleLbl="node1" presStyleIdx="0" presStyleCnt="2" custScaleX="133540" custScaleY="70813" custLinFactNeighborX="3349" custLinFactNeighborY="-12945">
        <dgm:presLayoutVars>
          <dgm:bulletEnabled val="1"/>
        </dgm:presLayoutVars>
      </dgm:prSet>
      <dgm:spPr/>
    </dgm:pt>
    <dgm:pt modelId="{6B209EC3-B8FF-48AE-A0A4-66A61C74A4FE}" type="pres">
      <dgm:prSet presAssocID="{9850A410-9A4F-4903-8C04-B681A6C60DAE}" presName="spacing" presStyleCnt="0"/>
      <dgm:spPr/>
    </dgm:pt>
    <dgm:pt modelId="{5689D607-59DE-4822-A34B-74192D9F2561}" type="pres">
      <dgm:prSet presAssocID="{298FFF9F-EF0B-4236-BAC4-E4BA57F31280}" presName="composite" presStyleCnt="0"/>
      <dgm:spPr/>
    </dgm:pt>
    <dgm:pt modelId="{D679F3D5-72B7-485C-A841-58BD76EDADA2}" type="pres">
      <dgm:prSet presAssocID="{298FFF9F-EF0B-4236-BAC4-E4BA57F31280}" presName="imgShp" presStyleLbl="fgImgPlace1" presStyleIdx="1" presStyleCnt="2" custScaleX="64655" custScaleY="69058" custLinFactNeighborX="-17672" custLinFactNeighborY="15767"/>
      <dgm:spPr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</dgm:spPr>
    </dgm:pt>
    <dgm:pt modelId="{30DED141-EE3C-48AE-A70B-43FB9F30CB77}" type="pres">
      <dgm:prSet presAssocID="{298FFF9F-EF0B-4236-BAC4-E4BA57F31280}" presName="txShp" presStyleLbl="node1" presStyleIdx="1" presStyleCnt="2" custScaleX="137345" custScaleY="67153" custLinFactNeighborX="4928" custLinFactNeighborY="14276">
        <dgm:presLayoutVars>
          <dgm:bulletEnabled val="1"/>
        </dgm:presLayoutVars>
      </dgm:prSet>
      <dgm:spPr/>
    </dgm:pt>
  </dgm:ptLst>
  <dgm:cxnLst>
    <dgm:cxn modelId="{5CA34418-ED95-4E78-961E-646A1F5704F6}" type="presOf" srcId="{298FFF9F-EF0B-4236-BAC4-E4BA57F31280}" destId="{30DED141-EE3C-48AE-A70B-43FB9F30CB77}" srcOrd="0" destOrd="0" presId="urn:microsoft.com/office/officeart/2005/8/layout/vList3"/>
    <dgm:cxn modelId="{CB5C7B1B-768F-4E1A-A415-4B0428C17640}" type="presOf" srcId="{52D9B8AF-FFF4-4736-85FB-1C4756CA9572}" destId="{8B7D3A15-85F3-4171-96D0-9BED0914AB08}" srcOrd="0" destOrd="0" presId="urn:microsoft.com/office/officeart/2005/8/layout/vList3"/>
    <dgm:cxn modelId="{7DE08D96-2B23-4402-BD60-15B766491036}" srcId="{10FFE8D9-2523-4D21-B683-665DC183BD34}" destId="{298FFF9F-EF0B-4236-BAC4-E4BA57F31280}" srcOrd="1" destOrd="0" parTransId="{D991B7F1-0E1B-4799-8A3C-19B22F9DE6B5}" sibTransId="{EAD06361-31F1-41AA-A3B8-2448CD61C3E3}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B1FA6BB3-6B2E-4EB6-BFA9-B0C9C4C0794D}" srcId="{10FFE8D9-2523-4D21-B683-665DC183BD34}" destId="{52D9B8AF-FFF4-4736-85FB-1C4756CA9572}" srcOrd="0" destOrd="0" parTransId="{75026698-B741-4139-AA29-AC5951E6AC9C}" sibTransId="{9850A410-9A4F-4903-8C04-B681A6C60DAE}"/>
    <dgm:cxn modelId="{E92781BE-15A8-486E-9A8E-DD7D7F462619}" type="presParOf" srcId="{F62C43F7-0315-498D-9E30-10F0A0B9BBD9}" destId="{DBB293B0-0168-46BD-842A-D77AAC5452EF}" srcOrd="0" destOrd="0" presId="urn:microsoft.com/office/officeart/2005/8/layout/vList3"/>
    <dgm:cxn modelId="{284460FB-F3AD-4DAD-A5DA-0F48D34DE1BF}" type="presParOf" srcId="{DBB293B0-0168-46BD-842A-D77AAC5452EF}" destId="{2B8815EE-8E16-4B94-9A43-582FDABEA376}" srcOrd="0" destOrd="0" presId="urn:microsoft.com/office/officeart/2005/8/layout/vList3"/>
    <dgm:cxn modelId="{243C0792-1473-4594-8888-9FB859B2F298}" type="presParOf" srcId="{DBB293B0-0168-46BD-842A-D77AAC5452EF}" destId="{8B7D3A15-85F3-4171-96D0-9BED0914AB08}" srcOrd="1" destOrd="0" presId="urn:microsoft.com/office/officeart/2005/8/layout/vList3"/>
    <dgm:cxn modelId="{BC0CF163-F3F0-481D-8359-1FD86294A73E}" type="presParOf" srcId="{F62C43F7-0315-498D-9E30-10F0A0B9BBD9}" destId="{6B209EC3-B8FF-48AE-A0A4-66A61C74A4FE}" srcOrd="1" destOrd="0" presId="urn:microsoft.com/office/officeart/2005/8/layout/vList3"/>
    <dgm:cxn modelId="{CF903282-6BDE-472D-AA64-49752D36982D}" type="presParOf" srcId="{F62C43F7-0315-498D-9E30-10F0A0B9BBD9}" destId="{5689D607-59DE-4822-A34B-74192D9F2561}" srcOrd="2" destOrd="0" presId="urn:microsoft.com/office/officeart/2005/8/layout/vList3"/>
    <dgm:cxn modelId="{7DDEBB1C-C64C-4CC9-BBF1-310B55B3C9C4}" type="presParOf" srcId="{5689D607-59DE-4822-A34B-74192D9F2561}" destId="{D679F3D5-72B7-485C-A841-58BD76EDADA2}" srcOrd="0" destOrd="0" presId="urn:microsoft.com/office/officeart/2005/8/layout/vList3"/>
    <dgm:cxn modelId="{8F88AF39-60AB-44BB-8E5A-8B532163A199}" type="presParOf" srcId="{5689D607-59DE-4822-A34B-74192D9F2561}" destId="{30DED141-EE3C-48AE-A70B-43FB9F30CB77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10FFE8D9-2523-4D21-B683-665DC183BD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012CEA51-7305-48A0-AF33-E67B6539B7AE}">
      <dgm:prSet phldrT="[Text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b="1" kern="1200" dirty="0">
              <a:solidFill>
                <a:schemeClr val="accent1">
                  <a:lumMod val="75000"/>
                  <a:lumOff val="25000"/>
                </a:schemeClr>
              </a:solidFill>
            </a:rPr>
            <a:t>STRENGTHENING REGULATORY CAPACITY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chemeClr val="accent3">
                  <a:lumMod val="75000"/>
                </a:schemeClr>
              </a:solidFill>
            </a:rPr>
            <a:t>Philippines and Indonesia</a:t>
          </a:r>
          <a:r>
            <a:rPr lang="en-GB" sz="1300" kern="1200" dirty="0">
              <a:solidFill>
                <a:schemeClr val="tx1"/>
              </a:solidFill>
            </a:rPr>
            <a:t>: Fast-tracked the process for emergency regulatory authorization, which could be capitalized for future emergency-related products.</a:t>
          </a:r>
          <a:endParaRPr lang="en-IN" sz="1300" kern="1200" dirty="0">
            <a:solidFill>
              <a:schemeClr val="tx1"/>
            </a:solidFill>
          </a:endParaRPr>
        </a:p>
      </dgm:t>
    </dgm:pt>
    <dgm:pt modelId="{ACE82B28-7AF3-4CAB-9823-DA86418B60AC}" type="parTrans" cxnId="{BA97491B-EFCD-48AC-8CD8-E16EC13B8A18}">
      <dgm:prSet/>
      <dgm:spPr/>
      <dgm:t>
        <a:bodyPr/>
        <a:lstStyle/>
        <a:p>
          <a:endParaRPr lang="en-GB" sz="2000"/>
        </a:p>
      </dgm:t>
    </dgm:pt>
    <dgm:pt modelId="{D9223FFA-252B-4506-8B97-F603CD3B4F50}" type="sibTrans" cxnId="{BA97491B-EFCD-48AC-8CD8-E16EC13B8A18}">
      <dgm:prSet/>
      <dgm:spPr/>
      <dgm:t>
        <a:bodyPr/>
        <a:lstStyle/>
        <a:p>
          <a:endParaRPr lang="en-GB" sz="2000"/>
        </a:p>
      </dgm:t>
    </dgm:pt>
    <dgm:pt modelId="{E7405B8F-AD5C-414B-90B3-CCD5F1A99E1D}">
      <dgm:prSet phldrT="[Text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INTEGRATED APPROACH TO COLD CHAIN CAPACITY PLANNING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3">
                  <a:lumMod val="75000"/>
                </a:schemeClr>
              </a:solidFill>
            </a:rPr>
            <a:t>Cambodia:</a:t>
          </a:r>
          <a:r>
            <a:rPr lang="en-US" sz="1300" kern="1200" dirty="0">
              <a:solidFill>
                <a:schemeClr val="accent3">
                  <a:lumMod val="75000"/>
                </a:schemeClr>
              </a:solidFill>
            </a:rPr>
            <a:t> </a:t>
          </a:r>
          <a:r>
            <a:rPr lang="en-US" sz="1300" kern="1200" dirty="0">
              <a:solidFill>
                <a:schemeClr val="tx1"/>
              </a:solidFill>
            </a:rPr>
            <a:t>Cold chain assessment and distribution for COVID-19 vaccine deployment was integrated with essential immunizations when planning cold chain capacity</a:t>
          </a:r>
          <a:endParaRPr lang="en-GB" sz="1300" b="1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</dgm:t>
    </dgm:pt>
    <dgm:pt modelId="{6748EC12-2114-4DE6-ADD3-8CBBA0FF7104}" type="parTrans" cxnId="{1FF52E27-E43A-4254-86C1-FA108D9BF24F}">
      <dgm:prSet/>
      <dgm:spPr/>
      <dgm:t>
        <a:bodyPr/>
        <a:lstStyle/>
        <a:p>
          <a:endParaRPr lang="en-GB" sz="2000"/>
        </a:p>
      </dgm:t>
    </dgm:pt>
    <dgm:pt modelId="{DFBD3D8C-3E06-43B0-9E98-EC52E77CBF3B}" type="sibTrans" cxnId="{1FF52E27-E43A-4254-86C1-FA108D9BF24F}">
      <dgm:prSet/>
      <dgm:spPr/>
      <dgm:t>
        <a:bodyPr/>
        <a:lstStyle/>
        <a:p>
          <a:endParaRPr lang="en-GB" sz="2000"/>
        </a:p>
      </dgm:t>
    </dgm:pt>
    <dgm:pt modelId="{52D9B8AF-FFF4-4736-85FB-1C4756CA9572}">
      <dgm:prSet phldrT="[Text]" custT="1"/>
      <dgm:spPr>
        <a:solidFill>
          <a:schemeClr val="accent5">
            <a:lumMod val="60000"/>
            <a:lumOff val="40000"/>
          </a:schemeClr>
        </a:solidFill>
      </dgm:spPr>
      <dgm:t>
        <a:bodyPr/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LEVERAGING THE EXISTING E-LMIS FOR COVID-19 STOCK MANAGEMENT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3">
                  <a:lumMod val="75000"/>
                </a:schemeClr>
              </a:solidFill>
            </a:rPr>
            <a:t>Senegal </a:t>
          </a:r>
          <a:r>
            <a:rPr lang="en-US" sz="1300" b="0" kern="1200" dirty="0">
              <a:solidFill>
                <a:schemeClr val="tx1"/>
              </a:solidFill>
            </a:rPr>
            <a:t>used the existing</a:t>
          </a:r>
          <a:r>
            <a:rPr lang="en-US" sz="1300" kern="1200" dirty="0">
              <a:solidFill>
                <a:schemeClr val="tx1"/>
              </a:solidFill>
            </a:rPr>
            <a:t> eLMIS, a real-time stock-monitoring tool in each health facility, for rationally redirecting COVID-19 stock flows to points of care based on consumption rates.</a:t>
          </a:r>
          <a:endParaRPr lang="en-GB" sz="1300" b="1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</dgm:t>
    </dgm:pt>
    <dgm:pt modelId="{75026698-B741-4139-AA29-AC5951E6AC9C}" type="parTrans" cxnId="{B1FA6BB3-6B2E-4EB6-BFA9-B0C9C4C0794D}">
      <dgm:prSet/>
      <dgm:spPr/>
      <dgm:t>
        <a:bodyPr/>
        <a:lstStyle/>
        <a:p>
          <a:endParaRPr lang="en-GB" sz="2000"/>
        </a:p>
      </dgm:t>
    </dgm:pt>
    <dgm:pt modelId="{9850A410-9A4F-4903-8C04-B681A6C60DAE}" type="sibTrans" cxnId="{B1FA6BB3-6B2E-4EB6-BFA9-B0C9C4C0794D}">
      <dgm:prSet/>
      <dgm:spPr/>
      <dgm:t>
        <a:bodyPr/>
        <a:lstStyle/>
        <a:p>
          <a:endParaRPr lang="en-GB" sz="2000"/>
        </a:p>
      </dgm:t>
    </dgm:pt>
    <dgm:pt modelId="{F62C43F7-0315-498D-9E30-10F0A0B9BBD9}" type="pres">
      <dgm:prSet presAssocID="{10FFE8D9-2523-4D21-B683-665DC183BD34}" presName="linearFlow" presStyleCnt="0">
        <dgm:presLayoutVars>
          <dgm:dir/>
          <dgm:resizeHandles val="exact"/>
        </dgm:presLayoutVars>
      </dgm:prSet>
      <dgm:spPr/>
    </dgm:pt>
    <dgm:pt modelId="{8CB2BAA1-98E3-4649-A43C-DFF4FD76E75F}" type="pres">
      <dgm:prSet presAssocID="{012CEA51-7305-48A0-AF33-E67B6539B7AE}" presName="composite" presStyleCnt="0"/>
      <dgm:spPr/>
    </dgm:pt>
    <dgm:pt modelId="{1DE9332B-C20E-4633-995B-D281F5209CC6}" type="pres">
      <dgm:prSet presAssocID="{012CEA51-7305-48A0-AF33-E67B6539B7AE}" presName="imgShp" presStyleLbl="fgImgPlace1" presStyleIdx="0" presStyleCnt="3" custScaleX="102517" custScaleY="92874" custLinFactNeighborX="-42255" custLinFactNeighborY="2844"/>
      <dgm:spPr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000" b="-3000"/>
          </a:stretch>
        </a:blipFill>
      </dgm:spPr>
    </dgm:pt>
    <dgm:pt modelId="{231C5DC9-3B94-4233-B75F-2F187107BF74}" type="pres">
      <dgm:prSet presAssocID="{012CEA51-7305-48A0-AF33-E67B6539B7AE}" presName="txShp" presStyleLbl="node1" presStyleIdx="0" presStyleCnt="3" custScaleX="133513" custLinFactNeighborX="3010" custLinFactNeighborY="2133">
        <dgm:presLayoutVars>
          <dgm:bulletEnabled val="1"/>
        </dgm:presLayoutVars>
      </dgm:prSet>
      <dgm:spPr/>
    </dgm:pt>
    <dgm:pt modelId="{70B92CBE-4037-4CD5-B7CC-58B097DEE005}" type="pres">
      <dgm:prSet presAssocID="{D9223FFA-252B-4506-8B97-F603CD3B4F50}" presName="spacing" presStyleCnt="0"/>
      <dgm:spPr/>
    </dgm:pt>
    <dgm:pt modelId="{F7CAEC25-ABBA-4257-AE31-DCB9097CE404}" type="pres">
      <dgm:prSet presAssocID="{E7405B8F-AD5C-414B-90B3-CCD5F1A99E1D}" presName="composite" presStyleCnt="0"/>
      <dgm:spPr/>
    </dgm:pt>
    <dgm:pt modelId="{E2505A97-C61F-4AEC-B7CB-0B33D74D0143}" type="pres">
      <dgm:prSet presAssocID="{E7405B8F-AD5C-414B-90B3-CCD5F1A99E1D}" presName="imgShp" presStyleLbl="fgImgPlace1" presStyleIdx="1" presStyleCnt="3" custLinFactNeighborX="-42255" custLinFactNeighborY="2133"/>
      <dgm:spPr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EA6993E9-8266-46BC-B04C-904098557E8E}" type="pres">
      <dgm:prSet presAssocID="{E7405B8F-AD5C-414B-90B3-CCD5F1A99E1D}" presName="txShp" presStyleLbl="node1" presStyleIdx="1" presStyleCnt="3" custScaleX="134501" custLinFactNeighborX="3010" custLinFactNeighborY="2133">
        <dgm:presLayoutVars>
          <dgm:bulletEnabled val="1"/>
        </dgm:presLayoutVars>
      </dgm:prSet>
      <dgm:spPr/>
    </dgm:pt>
    <dgm:pt modelId="{344FB807-38F7-4CAD-A959-A5FCA83223F5}" type="pres">
      <dgm:prSet presAssocID="{DFBD3D8C-3E06-43B0-9E98-EC52E77CBF3B}" presName="spacing" presStyleCnt="0"/>
      <dgm:spPr/>
    </dgm:pt>
    <dgm:pt modelId="{DBB293B0-0168-46BD-842A-D77AAC5452EF}" type="pres">
      <dgm:prSet presAssocID="{52D9B8AF-FFF4-4736-85FB-1C4756CA9572}" presName="composite" presStyleCnt="0"/>
      <dgm:spPr/>
    </dgm:pt>
    <dgm:pt modelId="{2B8815EE-8E16-4B94-9A43-582FDABEA376}" type="pres">
      <dgm:prSet presAssocID="{52D9B8AF-FFF4-4736-85FB-1C4756CA9572}" presName="imgShp" presStyleLbl="fgImgPlace1" presStyleIdx="2" presStyleCnt="3" custLinFactNeighborX="-42255" custLinFactNeighborY="2133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</dgm:pt>
    <dgm:pt modelId="{8B7D3A15-85F3-4171-96D0-9BED0914AB08}" type="pres">
      <dgm:prSet presAssocID="{52D9B8AF-FFF4-4736-85FB-1C4756CA9572}" presName="txShp" presStyleLbl="node1" presStyleIdx="2" presStyleCnt="3" custScaleX="133513" custLinFactNeighborX="3010" custLinFactNeighborY="69">
        <dgm:presLayoutVars>
          <dgm:bulletEnabled val="1"/>
        </dgm:presLayoutVars>
      </dgm:prSet>
      <dgm:spPr/>
    </dgm:pt>
  </dgm:ptLst>
  <dgm:cxnLst>
    <dgm:cxn modelId="{BA97491B-EFCD-48AC-8CD8-E16EC13B8A18}" srcId="{10FFE8D9-2523-4D21-B683-665DC183BD34}" destId="{012CEA51-7305-48A0-AF33-E67B6539B7AE}" srcOrd="0" destOrd="0" parTransId="{ACE82B28-7AF3-4CAB-9823-DA86418B60AC}" sibTransId="{D9223FFA-252B-4506-8B97-F603CD3B4F50}"/>
    <dgm:cxn modelId="{CB5C7B1B-768F-4E1A-A415-4B0428C17640}" type="presOf" srcId="{52D9B8AF-FFF4-4736-85FB-1C4756CA9572}" destId="{8B7D3A15-85F3-4171-96D0-9BED0914AB08}" srcOrd="0" destOrd="0" presId="urn:microsoft.com/office/officeart/2005/8/layout/vList3"/>
    <dgm:cxn modelId="{1FF52E27-E43A-4254-86C1-FA108D9BF24F}" srcId="{10FFE8D9-2523-4D21-B683-665DC183BD34}" destId="{E7405B8F-AD5C-414B-90B3-CCD5F1A99E1D}" srcOrd="1" destOrd="0" parTransId="{6748EC12-2114-4DE6-ADD3-8CBBA0FF7104}" sibTransId="{DFBD3D8C-3E06-43B0-9E98-EC52E77CBF3B}"/>
    <dgm:cxn modelId="{402B8173-7056-4CF7-94F9-0C70B228B889}" type="presOf" srcId="{012CEA51-7305-48A0-AF33-E67B6539B7AE}" destId="{231C5DC9-3B94-4233-B75F-2F187107BF74}" srcOrd="0" destOrd="0" presId="urn:microsoft.com/office/officeart/2005/8/layout/vList3"/>
    <dgm:cxn modelId="{8C142DA4-C228-4F50-A644-A758302431C1}" type="presOf" srcId="{10FFE8D9-2523-4D21-B683-665DC183BD34}" destId="{F62C43F7-0315-498D-9E30-10F0A0B9BBD9}" srcOrd="0" destOrd="0" presId="urn:microsoft.com/office/officeart/2005/8/layout/vList3"/>
    <dgm:cxn modelId="{B1FA6BB3-6B2E-4EB6-BFA9-B0C9C4C0794D}" srcId="{10FFE8D9-2523-4D21-B683-665DC183BD34}" destId="{52D9B8AF-FFF4-4736-85FB-1C4756CA9572}" srcOrd="2" destOrd="0" parTransId="{75026698-B741-4139-AA29-AC5951E6AC9C}" sibTransId="{9850A410-9A4F-4903-8C04-B681A6C60DAE}"/>
    <dgm:cxn modelId="{E3B825F5-CAB8-4235-A0B0-2A5C19F8761C}" type="presOf" srcId="{E7405B8F-AD5C-414B-90B3-CCD5F1A99E1D}" destId="{EA6993E9-8266-46BC-B04C-904098557E8E}" srcOrd="0" destOrd="0" presId="urn:microsoft.com/office/officeart/2005/8/layout/vList3"/>
    <dgm:cxn modelId="{45D7A004-B02F-4D19-84DE-1938FC30CA28}" type="presParOf" srcId="{F62C43F7-0315-498D-9E30-10F0A0B9BBD9}" destId="{8CB2BAA1-98E3-4649-A43C-DFF4FD76E75F}" srcOrd="0" destOrd="0" presId="urn:microsoft.com/office/officeart/2005/8/layout/vList3"/>
    <dgm:cxn modelId="{D9EC8B32-1D57-4AEB-8146-4479C7843D6F}" type="presParOf" srcId="{8CB2BAA1-98E3-4649-A43C-DFF4FD76E75F}" destId="{1DE9332B-C20E-4633-995B-D281F5209CC6}" srcOrd="0" destOrd="0" presId="urn:microsoft.com/office/officeart/2005/8/layout/vList3"/>
    <dgm:cxn modelId="{577DACD3-480F-4781-B7FA-92B721B469F0}" type="presParOf" srcId="{8CB2BAA1-98E3-4649-A43C-DFF4FD76E75F}" destId="{231C5DC9-3B94-4233-B75F-2F187107BF74}" srcOrd="1" destOrd="0" presId="urn:microsoft.com/office/officeart/2005/8/layout/vList3"/>
    <dgm:cxn modelId="{EA04B5EB-B11F-479E-8200-1FA195882ADE}" type="presParOf" srcId="{F62C43F7-0315-498D-9E30-10F0A0B9BBD9}" destId="{70B92CBE-4037-4CD5-B7CC-58B097DEE005}" srcOrd="1" destOrd="0" presId="urn:microsoft.com/office/officeart/2005/8/layout/vList3"/>
    <dgm:cxn modelId="{11377740-8E43-42A8-A96F-618BC077FE5F}" type="presParOf" srcId="{F62C43F7-0315-498D-9E30-10F0A0B9BBD9}" destId="{F7CAEC25-ABBA-4257-AE31-DCB9097CE404}" srcOrd="2" destOrd="0" presId="urn:microsoft.com/office/officeart/2005/8/layout/vList3"/>
    <dgm:cxn modelId="{554BF879-E317-41FE-B990-EC2A9E701036}" type="presParOf" srcId="{F7CAEC25-ABBA-4257-AE31-DCB9097CE404}" destId="{E2505A97-C61F-4AEC-B7CB-0B33D74D0143}" srcOrd="0" destOrd="0" presId="urn:microsoft.com/office/officeart/2005/8/layout/vList3"/>
    <dgm:cxn modelId="{5F59B758-C728-4B7E-AFFE-0467ABA8B837}" type="presParOf" srcId="{F7CAEC25-ABBA-4257-AE31-DCB9097CE404}" destId="{EA6993E9-8266-46BC-B04C-904098557E8E}" srcOrd="1" destOrd="0" presId="urn:microsoft.com/office/officeart/2005/8/layout/vList3"/>
    <dgm:cxn modelId="{466829AA-A86E-4C8E-A482-262C13FBFCD9}" type="presParOf" srcId="{F62C43F7-0315-498D-9E30-10F0A0B9BBD9}" destId="{344FB807-38F7-4CAD-A959-A5FCA83223F5}" srcOrd="3" destOrd="0" presId="urn:microsoft.com/office/officeart/2005/8/layout/vList3"/>
    <dgm:cxn modelId="{E92781BE-15A8-486E-9A8E-DD7D7F462619}" type="presParOf" srcId="{F62C43F7-0315-498D-9E30-10F0A0B9BBD9}" destId="{DBB293B0-0168-46BD-842A-D77AAC5452EF}" srcOrd="4" destOrd="0" presId="urn:microsoft.com/office/officeart/2005/8/layout/vList3"/>
    <dgm:cxn modelId="{284460FB-F3AD-4DAD-A5DA-0F48D34DE1BF}" type="presParOf" srcId="{DBB293B0-0168-46BD-842A-D77AAC5452EF}" destId="{2B8815EE-8E16-4B94-9A43-582FDABEA376}" srcOrd="0" destOrd="0" presId="urn:microsoft.com/office/officeart/2005/8/layout/vList3"/>
    <dgm:cxn modelId="{243C0792-1473-4594-8888-9FB859B2F298}" type="presParOf" srcId="{DBB293B0-0168-46BD-842A-D77AAC5452EF}" destId="{8B7D3A15-85F3-4171-96D0-9BED0914AB0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1C5DC9-3B94-4233-B75F-2F187107BF74}">
      <dsp:nvSpPr>
        <dsp:cNvPr id="0" name=""/>
        <dsp:cNvSpPr/>
      </dsp:nvSpPr>
      <dsp:spPr>
        <a:xfrm rot="10800000">
          <a:off x="568379" y="0"/>
          <a:ext cx="4954347" cy="1504068"/>
        </a:xfrm>
        <a:prstGeom prst="homePlate">
          <a:avLst/>
        </a:prstGeom>
        <a:solidFill>
          <a:schemeClr val="accent4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6622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POOLING RESOURCE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Rwanda </a:t>
          </a:r>
          <a:r>
            <a:rPr lang="en-GB" sz="1400" b="0" kern="1200" dirty="0">
              <a:solidFill>
                <a:schemeClr val="tx2"/>
              </a:solidFill>
              <a:latin typeface="Arial"/>
              <a:ea typeface="+mn-ea"/>
              <a:cs typeface="+mn-cs"/>
            </a:rPr>
            <a:t>leveraged and pooled partner and domestic resources to procure COVID-19 and other vaccines and cold chain equipment for their national immunization programme</a:t>
          </a:r>
          <a:r>
            <a:rPr lang="en-GB" sz="1400" b="0" kern="1200" dirty="0">
              <a:solidFill>
                <a:schemeClr val="bg1"/>
              </a:solidFill>
              <a:latin typeface="Arial"/>
              <a:ea typeface="+mn-ea"/>
              <a:cs typeface="+mn-cs"/>
            </a:rPr>
            <a:t>.</a:t>
          </a:r>
          <a:endParaRPr lang="en-GB" sz="1400" b="0" kern="1200" dirty="0">
            <a:solidFill>
              <a:srgbClr val="008DC9">
                <a:lumMod val="40000"/>
                <a:lumOff val="6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944396" y="0"/>
        <a:ext cx="4578330" cy="1504068"/>
      </dsp:txXfrm>
    </dsp:sp>
    <dsp:sp modelId="{1DE9332B-C20E-4633-995B-D281F5209CC6}">
      <dsp:nvSpPr>
        <dsp:cNvPr id="0" name=""/>
        <dsp:cNvSpPr/>
      </dsp:nvSpPr>
      <dsp:spPr>
        <a:xfrm>
          <a:off x="82037" y="0"/>
          <a:ext cx="1500364" cy="1504068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/>
          </a:stretch>
        </a:blipFill>
        <a:ln w="10795" cap="flat" cmpd="sng" algn="ctr">
          <a:solidFill>
            <a:srgbClr val="7F7F7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1AAAC3-25B2-47F3-AEF5-D3EFEF79CB8E}">
      <dsp:nvSpPr>
        <dsp:cNvPr id="0" name=""/>
        <dsp:cNvSpPr/>
      </dsp:nvSpPr>
      <dsp:spPr>
        <a:xfrm rot="10800000">
          <a:off x="439513" y="2278242"/>
          <a:ext cx="5053969" cy="1504068"/>
        </a:xfrm>
        <a:prstGeom prst="homePlate">
          <a:avLst/>
        </a:prstGeom>
        <a:solidFill>
          <a:schemeClr val="accent4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6622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JOINT PLANNING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Colombia </a:t>
          </a:r>
          <a:r>
            <a:rPr lang="en-GB" sz="1400" b="0" kern="1200" dirty="0">
              <a:solidFill>
                <a:schemeClr val="bg1"/>
              </a:solidFill>
              <a:latin typeface="Arial"/>
              <a:ea typeface="+mn-ea"/>
              <a:cs typeface="+mn-cs"/>
            </a:rPr>
            <a:t>conducted joint planning for procurement and delivery of COVID-19 and other essential vaccines in their national immunization programme</a:t>
          </a:r>
          <a:endParaRPr lang="en-GB" sz="1400" b="1" kern="1200" dirty="0">
            <a:solidFill>
              <a:srgbClr val="008DC9">
                <a:lumMod val="40000"/>
                <a:lumOff val="6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815530" y="2278242"/>
        <a:ext cx="4677952" cy="1504068"/>
      </dsp:txXfrm>
    </dsp:sp>
    <dsp:sp modelId="{87899642-929C-4402-846C-5A8CA965F6FD}">
      <dsp:nvSpPr>
        <dsp:cNvPr id="0" name=""/>
        <dsp:cNvSpPr/>
      </dsp:nvSpPr>
      <dsp:spPr>
        <a:xfrm>
          <a:off x="12372" y="2278835"/>
          <a:ext cx="1500364" cy="1504068"/>
        </a:xfrm>
        <a:prstGeom prst="ellipse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rgbClr val="7F7F7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1C5DC9-3B94-4233-B75F-2F187107BF74}">
      <dsp:nvSpPr>
        <dsp:cNvPr id="0" name=""/>
        <dsp:cNvSpPr/>
      </dsp:nvSpPr>
      <dsp:spPr>
        <a:xfrm rot="10800000">
          <a:off x="486448" y="3"/>
          <a:ext cx="5231989" cy="1260794"/>
        </a:xfrm>
        <a:prstGeom prst="homePlate">
          <a:avLst/>
        </a:prstGeom>
        <a:solidFill>
          <a:schemeClr val="accent5">
            <a:lumMod val="60000"/>
            <a:lumOff val="4000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5975" tIns="49530" rIns="92456" bIns="4953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b="1" kern="1200" dirty="0">
            <a:solidFill>
              <a:srgbClr val="092C3A">
                <a:lumMod val="75000"/>
                <a:lumOff val="25000"/>
              </a:srgbClr>
            </a:solidFill>
            <a:latin typeface="Arial"/>
            <a:ea typeface="+mn-ea"/>
            <a:cs typeface="+mn-cs"/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THE </a:t>
          </a:r>
          <a:r>
            <a:rPr lang="en-GB" sz="1300" b="1" kern="1200" dirty="0" err="1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iDRONE</a:t>
          </a:r>
          <a:r>
            <a:rPr lang="en-GB" sz="1300" b="1" kern="1200" dirty="0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 PROGRAMME FOR INTEGRATED DELIVERY OF SUPPLIE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chemeClr val="accent3">
                  <a:lumMod val="75000"/>
                </a:schemeClr>
              </a:solidFill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India</a:t>
          </a:r>
          <a:r>
            <a:rPr lang="en-GB" sz="1300" kern="1200" dirty="0">
              <a:solidFill>
                <a:schemeClr val="bg1"/>
              </a:solidFill>
            </a:rPr>
            <a:t> </a:t>
          </a:r>
          <a:r>
            <a:rPr lang="en-GB" sz="1300" kern="1200" dirty="0">
              <a:solidFill>
                <a:schemeClr val="tx1"/>
              </a:solidFill>
            </a:rPr>
            <a:t>used drones to deliver medical supplies in difficult geographic terrains, including COVID-19 vaccines, other vaccines, antenatal care medicines, multi-vitamins, syringes and gloves in the north-east of the country</a:t>
          </a:r>
          <a:r>
            <a:rPr lang="en-GB" sz="1300" kern="1200" dirty="0">
              <a:solidFill>
                <a:schemeClr val="bg1"/>
              </a:solidFill>
            </a:rPr>
            <a:t>.</a:t>
          </a:r>
          <a:endParaRPr lang="en-GB" sz="1300" b="1" kern="1200" dirty="0">
            <a:solidFill>
              <a:srgbClr val="092C3A">
                <a:lumMod val="75000"/>
                <a:lumOff val="25000"/>
              </a:srgbClr>
            </a:solidFill>
            <a:latin typeface="Arial"/>
            <a:ea typeface="+mn-ea"/>
            <a:cs typeface="+mn-cs"/>
          </a:endParaRP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b="1" kern="1200" dirty="0">
            <a:solidFill>
              <a:srgbClr val="092C3A">
                <a:lumMod val="75000"/>
                <a:lumOff val="25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801646" y="3"/>
        <a:ext cx="4916791" cy="1260794"/>
      </dsp:txXfrm>
    </dsp:sp>
    <dsp:sp modelId="{1DE9332B-C20E-4633-995B-D281F5209CC6}">
      <dsp:nvSpPr>
        <dsp:cNvPr id="0" name=""/>
        <dsp:cNvSpPr/>
      </dsp:nvSpPr>
      <dsp:spPr>
        <a:xfrm>
          <a:off x="0" y="36730"/>
          <a:ext cx="1260794" cy="1260794"/>
        </a:xfrm>
        <a:prstGeom prst="ellipse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6993E9-8266-46BC-B04C-904098557E8E}">
      <dsp:nvSpPr>
        <dsp:cNvPr id="0" name=""/>
        <dsp:cNvSpPr/>
      </dsp:nvSpPr>
      <dsp:spPr>
        <a:xfrm rot="10800000">
          <a:off x="428999" y="1664916"/>
          <a:ext cx="5270705" cy="1260794"/>
        </a:xfrm>
        <a:prstGeom prst="homePlate">
          <a:avLst/>
        </a:prstGeom>
        <a:solidFill>
          <a:schemeClr val="accent5">
            <a:lumMod val="60000"/>
            <a:lumOff val="4000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5975" tIns="49530" rIns="92456" bIns="4953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STRENGTHENING OVERALL COLD CHAIN CAPACITY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rgbClr val="01ACEE">
                  <a:lumMod val="75000"/>
                </a:srgbClr>
              </a:solidFill>
              <a:latin typeface="Arial"/>
              <a:ea typeface="+mn-ea"/>
              <a:cs typeface="+mn-cs"/>
            </a:rPr>
            <a:t>Nepal</a:t>
          </a:r>
          <a:r>
            <a:rPr lang="en-US" sz="1300" kern="1200" dirty="0">
              <a:solidFill>
                <a:schemeClr val="tx1"/>
              </a:solidFill>
            </a:rPr>
            <a:t> leveraged the opportunity of COVID-19 vaccine deployment  to strengthen cold chain capacity for the overall national immunization programme</a:t>
          </a:r>
          <a:r>
            <a:rPr lang="en-US" sz="1300" kern="1200" dirty="0"/>
            <a:t>.. </a:t>
          </a:r>
          <a:endParaRPr lang="en-GB" sz="1300" kern="1200" dirty="0">
            <a:solidFill>
              <a:schemeClr val="tx1"/>
            </a:solidFill>
          </a:endParaRPr>
        </a:p>
      </dsp:txBody>
      <dsp:txXfrm rot="10800000">
        <a:off x="744197" y="1664916"/>
        <a:ext cx="4955507" cy="1260794"/>
      </dsp:txXfrm>
    </dsp:sp>
    <dsp:sp modelId="{E2505A97-C61F-4AEC-B7CB-0B33D74D0143}">
      <dsp:nvSpPr>
        <dsp:cNvPr id="0" name=""/>
        <dsp:cNvSpPr/>
      </dsp:nvSpPr>
      <dsp:spPr>
        <a:xfrm>
          <a:off x="0" y="1664916"/>
          <a:ext cx="1260794" cy="1260794"/>
        </a:xfrm>
        <a:prstGeom prst="ellipse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7D3A15-85F3-4171-96D0-9BED0914AB08}">
      <dsp:nvSpPr>
        <dsp:cNvPr id="0" name=""/>
        <dsp:cNvSpPr/>
      </dsp:nvSpPr>
      <dsp:spPr>
        <a:xfrm rot="10800000">
          <a:off x="448358" y="3276044"/>
          <a:ext cx="5231989" cy="1260794"/>
        </a:xfrm>
        <a:prstGeom prst="homePlate">
          <a:avLst/>
        </a:prstGeom>
        <a:solidFill>
          <a:schemeClr val="accent5">
            <a:lumMod val="60000"/>
            <a:lumOff val="4000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5975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LEVERAGING THE EXISTING E-LMIS FOR COVID-19 STOCK MANAGEMENT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3">
                  <a:lumMod val="75000"/>
                </a:schemeClr>
              </a:solidFill>
              <a:hlinkClick xmlns:r="http://schemas.openxmlformats.org/officeDocument/2006/relationships" r:id="rId4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India</a:t>
          </a:r>
          <a:r>
            <a:rPr lang="en-US" sz="1300" b="1" kern="1200" dirty="0">
              <a:solidFill>
                <a:schemeClr val="accent3">
                  <a:lumMod val="75000"/>
                </a:schemeClr>
              </a:solidFill>
            </a:rPr>
            <a:t> </a:t>
          </a:r>
          <a:r>
            <a:rPr lang="en-US" sz="1300" kern="1200" dirty="0">
              <a:solidFill>
                <a:schemeClr val="accent3">
                  <a:lumMod val="75000"/>
                </a:schemeClr>
              </a:solidFill>
            </a:rPr>
            <a:t> </a:t>
          </a:r>
          <a:r>
            <a:rPr lang="en-US" sz="1300" kern="1200" dirty="0">
              <a:solidFill>
                <a:schemeClr val="tx1"/>
              </a:solidFill>
            </a:rPr>
            <a:t>adapted the existing eLMIS (eVIN) to accommodate COVID-19 vaccine roll-out needs while maintaining essential immunizations during the pandemic.</a:t>
          </a:r>
          <a:endParaRPr lang="en-GB" sz="1300" kern="1200" dirty="0">
            <a:solidFill>
              <a:schemeClr val="tx1"/>
            </a:solidFill>
          </a:endParaRPr>
        </a:p>
      </dsp:txBody>
      <dsp:txXfrm rot="10800000">
        <a:off x="763556" y="3276044"/>
        <a:ext cx="4916791" cy="1260794"/>
      </dsp:txXfrm>
    </dsp:sp>
    <dsp:sp modelId="{2B8815EE-8E16-4B94-9A43-582FDABEA376}">
      <dsp:nvSpPr>
        <dsp:cNvPr id="0" name=""/>
        <dsp:cNvSpPr/>
      </dsp:nvSpPr>
      <dsp:spPr>
        <a:xfrm>
          <a:off x="0" y="3276047"/>
          <a:ext cx="1260794" cy="1260794"/>
        </a:xfrm>
        <a:prstGeom prst="ellipse">
          <a:avLst/>
        </a:prstGeom>
        <a:blipFill rotWithShape="1"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1C5DC9-3B94-4233-B75F-2F187107BF74}">
      <dsp:nvSpPr>
        <dsp:cNvPr id="0" name=""/>
        <dsp:cNvSpPr/>
      </dsp:nvSpPr>
      <dsp:spPr>
        <a:xfrm rot="10800000">
          <a:off x="582001" y="597"/>
          <a:ext cx="4735268" cy="1222804"/>
        </a:xfrm>
        <a:prstGeom prst="homePlate">
          <a:avLst/>
        </a:prstGeom>
        <a:solidFill>
          <a:schemeClr val="accent4">
            <a:lumMod val="7500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9223" tIns="49530" rIns="92456" bIns="4953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0" kern="1200" dirty="0">
              <a:solidFill>
                <a:schemeClr val="accent1">
                  <a:lumMod val="25000"/>
                  <a:lumOff val="75000"/>
                </a:schemeClr>
              </a:solidFill>
            </a:rPr>
            <a:t>TRAINING HEALTH WORKERS TO IDENTIFY AND ENLIST BENEFICIARIE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chemeClr val="accent1">
                  <a:lumMod val="25000"/>
                  <a:lumOff val="75000"/>
                </a:schemeClr>
              </a:solidFill>
            </a:rPr>
            <a:t>India</a:t>
          </a:r>
          <a:r>
            <a:rPr lang="en-GB" sz="1300" kern="1200" dirty="0"/>
            <a:t> trained health workers to conduct surveys to identify and enlist beneficiaries for essential immunization and COVID-19 vaccination.</a:t>
          </a:r>
        </a:p>
      </dsp:txBody>
      <dsp:txXfrm rot="10800000">
        <a:off x="887702" y="597"/>
        <a:ext cx="4429567" cy="1222804"/>
      </dsp:txXfrm>
    </dsp:sp>
    <dsp:sp modelId="{1DE9332B-C20E-4633-995B-D281F5209CC6}">
      <dsp:nvSpPr>
        <dsp:cNvPr id="0" name=""/>
        <dsp:cNvSpPr/>
      </dsp:nvSpPr>
      <dsp:spPr>
        <a:xfrm>
          <a:off x="100004" y="597"/>
          <a:ext cx="1222804" cy="1222804"/>
        </a:xfrm>
        <a:prstGeom prst="ellipse">
          <a:avLst/>
        </a:prstGeom>
        <a:blipFill rotWithShape="1">
          <a:blip xmlns:r="http://schemas.openxmlformats.org/officeDocument/2006/relationships" r:embed="rId1"/>
          <a:srcRect/>
          <a:stretch>
            <a:fillRect l="-1000" r="-1000"/>
          </a:stretch>
        </a:blipFill>
        <a:ln w="10795" cap="flat" cmpd="sng" algn="ctr">
          <a:solidFill>
            <a:srgbClr val="7F7F7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1C5DC9-3B94-4233-B75F-2F187107BF74}">
      <dsp:nvSpPr>
        <dsp:cNvPr id="0" name=""/>
        <dsp:cNvSpPr/>
      </dsp:nvSpPr>
      <dsp:spPr>
        <a:xfrm rot="10800000">
          <a:off x="584579" y="0"/>
          <a:ext cx="4833417" cy="1222804"/>
        </a:xfrm>
        <a:prstGeom prst="homePlate">
          <a:avLst/>
        </a:prstGeom>
        <a:solidFill>
          <a:schemeClr val="accent4">
            <a:lumMod val="7500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9223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chemeClr val="accent1">
                  <a:lumMod val="25000"/>
                  <a:lumOff val="75000"/>
                </a:schemeClr>
              </a:solidFill>
            </a:rPr>
            <a:t>LEVERAGING THE POLIO WORKFORCE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chemeClr val="accent1">
                  <a:lumMod val="25000"/>
                  <a:lumOff val="75000"/>
                </a:schemeClr>
              </a:solidFill>
            </a:rPr>
            <a:t>Somalia</a:t>
          </a:r>
          <a:r>
            <a:rPr lang="en-GB" sz="1300" kern="1200" dirty="0"/>
            <a:t> used the polio workforce to conduct training of trainers for COVID-19 vaccination, recruiting vaccinators and for developing micro plans</a:t>
          </a:r>
        </a:p>
      </dsp:txBody>
      <dsp:txXfrm rot="10800000">
        <a:off x="890280" y="0"/>
        <a:ext cx="4527716" cy="1222804"/>
      </dsp:txXfrm>
    </dsp:sp>
    <dsp:sp modelId="{1DE9332B-C20E-4633-995B-D281F5209CC6}">
      <dsp:nvSpPr>
        <dsp:cNvPr id="0" name=""/>
        <dsp:cNvSpPr/>
      </dsp:nvSpPr>
      <dsp:spPr>
        <a:xfrm>
          <a:off x="0" y="0"/>
          <a:ext cx="1222804" cy="1222804"/>
        </a:xfrm>
        <a:prstGeom prst="ellipse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rgbClr val="7F7F7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7D3A15-85F3-4171-96D0-9BED0914AB08}">
      <dsp:nvSpPr>
        <dsp:cNvPr id="0" name=""/>
        <dsp:cNvSpPr/>
      </dsp:nvSpPr>
      <dsp:spPr>
        <a:xfrm rot="10800000">
          <a:off x="489723" y="0"/>
          <a:ext cx="5034415" cy="1240917"/>
        </a:xfrm>
        <a:prstGeom prst="homePlate">
          <a:avLst/>
        </a:prstGeom>
        <a:solidFill>
          <a:srgbClr val="0070C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9107" tIns="49530" rIns="92456" bIns="49530" numCol="1" spcCol="1270" anchor="ctr" anchorCtr="0">
          <a:noAutofit/>
        </a:bodyPr>
        <a:lstStyle/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USE OF TRUSTED COMMUNITY INFLUENCERS</a:t>
          </a:r>
        </a:p>
        <a:p>
          <a:pPr marL="0" lvl="0" indent="0" algn="l" defTabSz="5334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1">
                  <a:lumMod val="25000"/>
                  <a:lumOff val="75000"/>
                </a:schemeClr>
              </a:solidFill>
            </a:rPr>
            <a:t>Yemen</a:t>
          </a:r>
          <a:r>
            <a:rPr lang="en-US" sz="1300" b="1" kern="1200" dirty="0"/>
            <a:t>: </a:t>
          </a:r>
          <a:r>
            <a:rPr lang="en-US" sz="1300" kern="1200" dirty="0"/>
            <a:t>Community midwives (trusted influencers) trained to provide COVID-19 and essential immunizations </a:t>
          </a:r>
          <a:endParaRPr lang="en-IN" sz="1300" b="1" kern="1200" dirty="0">
            <a:solidFill>
              <a:srgbClr val="008DC9">
                <a:lumMod val="40000"/>
                <a:lumOff val="6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799952" y="0"/>
        <a:ext cx="4724186" cy="1240917"/>
      </dsp:txXfrm>
    </dsp:sp>
    <dsp:sp modelId="{2B8815EE-8E16-4B94-9A43-582FDABEA376}">
      <dsp:nvSpPr>
        <dsp:cNvPr id="0" name=""/>
        <dsp:cNvSpPr/>
      </dsp:nvSpPr>
      <dsp:spPr>
        <a:xfrm>
          <a:off x="181350" y="0"/>
          <a:ext cx="1248571" cy="1278438"/>
        </a:xfrm>
        <a:prstGeom prst="ellipse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EF4E29-5CC6-4BD5-A195-487CD863E76C}">
      <dsp:nvSpPr>
        <dsp:cNvPr id="0" name=""/>
        <dsp:cNvSpPr/>
      </dsp:nvSpPr>
      <dsp:spPr>
        <a:xfrm rot="10800000">
          <a:off x="648821" y="1605391"/>
          <a:ext cx="4860826" cy="1334595"/>
        </a:xfrm>
        <a:prstGeom prst="homePlate">
          <a:avLst/>
        </a:prstGeom>
        <a:solidFill>
          <a:srgbClr val="0070C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9107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>
              <a:solidFill>
                <a:schemeClr val="accent1">
                  <a:lumMod val="25000"/>
                  <a:lumOff val="75000"/>
                </a:schemeClr>
              </a:solidFill>
            </a:rPr>
            <a:t>PROMOTING COVID-19 SAFETY MEASURES JOINTLY WITH CHILDHOOD IMMUNIZATION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accent1">
                  <a:lumMod val="25000"/>
                  <a:lumOff val="75000"/>
                </a:schemeClr>
              </a:solidFill>
            </a:rPr>
            <a:t>Nepal</a:t>
          </a:r>
          <a:r>
            <a:rPr lang="en-US" sz="1400" b="1" kern="1200" dirty="0"/>
            <a:t> p</a:t>
          </a:r>
          <a:r>
            <a:rPr lang="en-US" sz="1400" kern="1200" dirty="0"/>
            <a:t>romoted COVID-19 safety measures together with essential immunizations, particularly targeting children.</a:t>
          </a:r>
          <a:endParaRPr lang="en-IN" sz="1400" b="1" kern="1200" dirty="0">
            <a:solidFill>
              <a:schemeClr val="accent1">
                <a:lumMod val="25000"/>
                <a:lumOff val="75000"/>
              </a:schemeClr>
            </a:solidFill>
          </a:endParaRPr>
        </a:p>
      </dsp:txBody>
      <dsp:txXfrm rot="10800000">
        <a:off x="982470" y="1605391"/>
        <a:ext cx="4527177" cy="1334595"/>
      </dsp:txXfrm>
    </dsp:sp>
    <dsp:sp modelId="{31C46BFB-0A07-4333-9A31-38CC269FBF52}">
      <dsp:nvSpPr>
        <dsp:cNvPr id="0" name=""/>
        <dsp:cNvSpPr/>
      </dsp:nvSpPr>
      <dsp:spPr>
        <a:xfrm>
          <a:off x="186204" y="1635530"/>
          <a:ext cx="1259435" cy="1279056"/>
        </a:xfrm>
        <a:prstGeom prst="ellipse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6000" b="-6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B1A7D4-8958-4DF5-B6E6-D99CF38895A6}">
      <dsp:nvSpPr>
        <dsp:cNvPr id="0" name=""/>
        <dsp:cNvSpPr/>
      </dsp:nvSpPr>
      <dsp:spPr>
        <a:xfrm rot="10800000">
          <a:off x="520859" y="3323067"/>
          <a:ext cx="4931501" cy="1307407"/>
        </a:xfrm>
        <a:prstGeom prst="homePlate">
          <a:avLst/>
        </a:prstGeom>
        <a:solidFill>
          <a:srgbClr val="0070C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9107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400" b="1" kern="1200" dirty="0">
              <a:solidFill>
                <a:schemeClr val="accent1">
                  <a:lumMod val="25000"/>
                  <a:lumOff val="75000"/>
                </a:schemeClr>
              </a:solidFill>
            </a:rPr>
            <a:t>INTEGRATED HEALTH COMMUNICATION</a:t>
          </a:r>
        </a:p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accent1">
                  <a:lumMod val="25000"/>
                  <a:lumOff val="75000"/>
                </a:schemeClr>
              </a:solidFill>
            </a:rPr>
            <a:t>Cameroon</a:t>
          </a:r>
          <a:r>
            <a:rPr lang="en-US" sz="1400" b="1" kern="1200" dirty="0"/>
            <a:t>:</a:t>
          </a:r>
          <a:r>
            <a:rPr lang="en-US" sz="1400" kern="1200" dirty="0"/>
            <a:t> Coupled vaccination with existing health communication activities.</a:t>
          </a:r>
          <a:endParaRPr lang="en-IN" sz="1400" b="0" kern="1200" dirty="0">
            <a:solidFill>
              <a:schemeClr val="bg1"/>
            </a:solidFill>
          </a:endParaRPr>
        </a:p>
      </dsp:txBody>
      <dsp:txXfrm rot="10800000">
        <a:off x="847711" y="3323067"/>
        <a:ext cx="4604649" cy="1307407"/>
      </dsp:txXfrm>
    </dsp:sp>
    <dsp:sp modelId="{4974E8B2-547A-48D7-98D9-E8E35B042C11}">
      <dsp:nvSpPr>
        <dsp:cNvPr id="0" name=""/>
        <dsp:cNvSpPr/>
      </dsp:nvSpPr>
      <dsp:spPr>
        <a:xfrm>
          <a:off x="205196" y="3349674"/>
          <a:ext cx="1163844" cy="1209093"/>
        </a:xfrm>
        <a:prstGeom prst="ellipse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1C5DC9-3B94-4233-B75F-2F187107BF74}">
      <dsp:nvSpPr>
        <dsp:cNvPr id="0" name=""/>
        <dsp:cNvSpPr/>
      </dsp:nvSpPr>
      <dsp:spPr>
        <a:xfrm rot="10800000">
          <a:off x="556504" y="362991"/>
          <a:ext cx="4954347" cy="1636229"/>
        </a:xfrm>
        <a:prstGeom prst="homePlate">
          <a:avLst/>
        </a:prstGeom>
        <a:solidFill>
          <a:srgbClr val="0070C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5825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4">
                  <a:lumMod val="40000"/>
                  <a:lumOff val="60000"/>
                </a:schemeClr>
              </a:solidFill>
              <a:latin typeface="Arial"/>
            </a:rPr>
            <a:t>COMMUNITY INVOLVEMENT AND </a:t>
          </a:r>
          <a:r>
            <a:rPr lang="en-US" sz="1300" b="1" kern="1200" dirty="0">
              <a:solidFill>
                <a:schemeClr val="accent4">
                  <a:lumMod val="40000"/>
                  <a:lumOff val="60000"/>
                </a:schemeClr>
              </a:solidFill>
            </a:rPr>
            <a:t>INTEGRATION OF VACCINATION WITH ROUTINE ANC SERVICES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1">
                  <a:lumMod val="25000"/>
                  <a:lumOff val="75000"/>
                </a:schemeClr>
              </a:solidFill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Fiji</a:t>
          </a:r>
          <a:r>
            <a:rPr lang="en-US" sz="1300" b="1" kern="1200" dirty="0">
              <a:solidFill>
                <a:schemeClr val="accent1">
                  <a:lumMod val="25000"/>
                  <a:lumOff val="75000"/>
                </a:schemeClr>
              </a:solidFill>
            </a:rPr>
            <a:t> </a:t>
          </a:r>
          <a:r>
            <a:rPr lang="fr-FR" sz="1300" b="0" kern="1200" dirty="0"/>
            <a:t>used </a:t>
          </a:r>
          <a:r>
            <a:rPr lang="en-IN" sz="1300" b="0" kern="1200" dirty="0"/>
            <a:t>community feedback </a:t>
          </a:r>
          <a:r>
            <a:rPr lang="fr-FR" sz="1300" b="0" kern="1200" dirty="0"/>
            <a:t>and </a:t>
          </a:r>
          <a:r>
            <a:rPr lang="fr-FR" sz="1300" b="0" kern="1200" dirty="0" err="1"/>
            <a:t>established</a:t>
          </a:r>
          <a:r>
            <a:rPr lang="fr-FR" sz="1300" b="0" kern="1200" dirty="0"/>
            <a:t> </a:t>
          </a:r>
          <a:r>
            <a:rPr lang="en-US" sz="1300" b="0" kern="1200" dirty="0"/>
            <a:t>a dedicated Social Listening Subgroup under a multi-partner RCCE initiative to improve demand for routine immunization and COVID-19 vaccination.</a:t>
          </a:r>
          <a:r>
            <a:rPr lang="en-US" sz="1300" b="0" kern="1200" dirty="0">
              <a:latin typeface="Arial"/>
            </a:rPr>
            <a:t> </a:t>
          </a:r>
          <a:endParaRPr lang="en-IN" sz="1300" b="0" kern="1200" dirty="0"/>
        </a:p>
      </dsp:txBody>
      <dsp:txXfrm rot="10800000">
        <a:off x="965561" y="362991"/>
        <a:ext cx="4545290" cy="1636229"/>
      </dsp:txXfrm>
    </dsp:sp>
    <dsp:sp modelId="{1DE9332B-C20E-4633-995B-D281F5209CC6}">
      <dsp:nvSpPr>
        <dsp:cNvPr id="0" name=""/>
        <dsp:cNvSpPr/>
      </dsp:nvSpPr>
      <dsp:spPr>
        <a:xfrm>
          <a:off x="4" y="395996"/>
          <a:ext cx="1432722" cy="1494218"/>
        </a:xfrm>
        <a:prstGeom prst="ellipse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6993E9-8266-46BC-B04C-904098557E8E}">
      <dsp:nvSpPr>
        <dsp:cNvPr id="0" name=""/>
        <dsp:cNvSpPr/>
      </dsp:nvSpPr>
      <dsp:spPr>
        <a:xfrm rot="10800000">
          <a:off x="573615" y="2572494"/>
          <a:ext cx="4954347" cy="1580339"/>
        </a:xfrm>
        <a:prstGeom prst="homePlate">
          <a:avLst/>
        </a:prstGeom>
        <a:solidFill>
          <a:srgbClr val="0070C0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5825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COMMUNITY ENGAGEMENT FOR COMMUNICATING EFFECTIVE HEALTH INTERVENTIONS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1">
                  <a:lumMod val="25000"/>
                  <a:lumOff val="75000"/>
                </a:schemeClr>
              </a:solidFill>
            </a:rPr>
            <a:t>Afghanistan</a:t>
          </a:r>
          <a:r>
            <a:rPr lang="en-US" sz="1300" b="1" kern="1200" dirty="0"/>
            <a:t>:</a:t>
          </a:r>
          <a:r>
            <a:rPr lang="en-US" sz="1300" kern="1200" dirty="0"/>
            <a:t> Cross-sectoral community engagement activities to share information on safe water, hygiene and vaccination. </a:t>
          </a:r>
          <a:endParaRPr lang="en-IN" sz="1300" b="0" kern="1200" dirty="0">
            <a:solidFill>
              <a:schemeClr val="bg1"/>
            </a:solidFill>
          </a:endParaRPr>
        </a:p>
      </dsp:txBody>
      <dsp:txXfrm rot="10800000">
        <a:off x="968700" y="2572494"/>
        <a:ext cx="4559262" cy="1580339"/>
      </dsp:txXfrm>
    </dsp:sp>
    <dsp:sp modelId="{E2505A97-C61F-4AEC-B7CB-0B33D74D0143}">
      <dsp:nvSpPr>
        <dsp:cNvPr id="0" name=""/>
        <dsp:cNvSpPr/>
      </dsp:nvSpPr>
      <dsp:spPr>
        <a:xfrm>
          <a:off x="122968" y="2675690"/>
          <a:ext cx="1345585" cy="1377868"/>
        </a:xfrm>
        <a:prstGeom prst="ellipse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1C5DC9-3B94-4233-B75F-2F187107BF74}">
      <dsp:nvSpPr>
        <dsp:cNvPr id="0" name=""/>
        <dsp:cNvSpPr/>
      </dsp:nvSpPr>
      <dsp:spPr>
        <a:xfrm rot="10800000">
          <a:off x="315200" y="873"/>
          <a:ext cx="5262398" cy="1260794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975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kern="1200" dirty="0">
              <a:solidFill>
                <a:schemeClr val="accent1"/>
              </a:solidFill>
            </a:rPr>
            <a:t>​</a:t>
          </a:r>
          <a:r>
            <a:rPr lang="en-US" sz="1300" b="1" kern="1200" dirty="0">
              <a:solidFill>
                <a:schemeClr val="accent2">
                  <a:lumMod val="50000"/>
                </a:schemeClr>
              </a:solidFill>
            </a:rPr>
            <a:t>LEVERAGING DIGITAL DATA SYSTEMS 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2">
                  <a:lumMod val="50000"/>
                </a:schemeClr>
              </a:solidFill>
            </a:rPr>
            <a:t>Lao People’s Democratic Republic </a:t>
          </a:r>
          <a:r>
            <a:rPr lang="en-US" sz="1300" b="0" kern="1200" dirty="0"/>
            <a:t>will leverage</a:t>
          </a:r>
          <a:r>
            <a:rPr lang="en-US" sz="1300" b="1" kern="1200" dirty="0"/>
            <a:t> </a:t>
          </a:r>
          <a:r>
            <a:rPr lang="en-US" sz="1300" kern="1200" dirty="0"/>
            <a:t>The COVID-19 Vaccination Registry (CVR), based on the DHIS2 software module, to establish an electronic registry for essential immunization. </a:t>
          </a:r>
          <a:endParaRPr lang="en-GB" sz="1300" b="0" kern="1200" dirty="0">
            <a:solidFill>
              <a:schemeClr val="accent2">
                <a:lumMod val="50000"/>
              </a:schemeClr>
            </a:solidFill>
          </a:endParaRPr>
        </a:p>
      </dsp:txBody>
      <dsp:txXfrm rot="10800000">
        <a:off x="630398" y="873"/>
        <a:ext cx="4947200" cy="1260794"/>
      </dsp:txXfrm>
    </dsp:sp>
    <dsp:sp modelId="{1DE9332B-C20E-4633-995B-D281F5209CC6}">
      <dsp:nvSpPr>
        <dsp:cNvPr id="0" name=""/>
        <dsp:cNvSpPr/>
      </dsp:nvSpPr>
      <dsp:spPr>
        <a:xfrm>
          <a:off x="0" y="68716"/>
          <a:ext cx="1114100" cy="1143036"/>
        </a:xfrm>
        <a:prstGeom prst="ellipse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7000" r="-27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6993E9-8266-46BC-B04C-904098557E8E}">
      <dsp:nvSpPr>
        <dsp:cNvPr id="0" name=""/>
        <dsp:cNvSpPr/>
      </dsp:nvSpPr>
      <dsp:spPr>
        <a:xfrm rot="10800000">
          <a:off x="315200" y="1638023"/>
          <a:ext cx="5262398" cy="1260794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975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2">
                  <a:lumMod val="50000"/>
                </a:schemeClr>
              </a:solidFill>
            </a:rPr>
            <a:t>LEVERAGING DIGITAL DATA SYSTEMS </a:t>
          </a:r>
          <a:endParaRPr lang="en-US" sz="1300" b="1" kern="1200" dirty="0"/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2">
                  <a:lumMod val="50000"/>
                </a:schemeClr>
              </a:solidFill>
              <a:hlinkClick xmlns:r="http://schemas.openxmlformats.org/officeDocument/2006/relationships"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Indonesia</a:t>
          </a:r>
          <a:r>
            <a:rPr lang="en-US" sz="1300" b="1" kern="1200" dirty="0"/>
            <a:t>:</a:t>
          </a:r>
          <a:r>
            <a:rPr lang="en-US" sz="1300" kern="1200" dirty="0"/>
            <a:t> the digital home-based immunization record, the </a:t>
          </a:r>
          <a:r>
            <a:rPr lang="en-US" sz="1300" kern="1200" dirty="0" err="1"/>
            <a:t>PeduliLindungi</a:t>
          </a:r>
          <a:r>
            <a:rPr lang="en-US" sz="1300" kern="1200" dirty="0"/>
            <a:t> app, is currently used as individual COVID-19 vaccination registry but will be expanded to include all essential vaccination.</a:t>
          </a:r>
          <a:endParaRPr lang="en-GB" sz="1300" b="0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</dsp:txBody>
      <dsp:txXfrm rot="10800000">
        <a:off x="630398" y="1638023"/>
        <a:ext cx="4947200" cy="1260794"/>
      </dsp:txXfrm>
    </dsp:sp>
    <dsp:sp modelId="{E2505A97-C61F-4AEC-B7CB-0B33D74D0143}">
      <dsp:nvSpPr>
        <dsp:cNvPr id="0" name=""/>
        <dsp:cNvSpPr/>
      </dsp:nvSpPr>
      <dsp:spPr>
        <a:xfrm>
          <a:off x="0" y="1705867"/>
          <a:ext cx="1114100" cy="1143036"/>
        </a:xfrm>
        <a:prstGeom prst="ellipse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7D3A15-85F3-4171-96D0-9BED0914AB08}">
      <dsp:nvSpPr>
        <dsp:cNvPr id="0" name=""/>
        <dsp:cNvSpPr/>
      </dsp:nvSpPr>
      <dsp:spPr>
        <a:xfrm rot="10800000">
          <a:off x="315200" y="3275174"/>
          <a:ext cx="5262398" cy="1260794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975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ENHANCING SAFETY SURVEILLANCE CAPACITY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2">
                  <a:lumMod val="50000"/>
                </a:schemeClr>
              </a:solidFill>
            </a:rPr>
            <a:t>Philippines</a:t>
          </a:r>
          <a:r>
            <a:rPr lang="en-US" sz="1300" kern="1200" dirty="0"/>
            <a:t> enhanced AEFI surveillance, and the structure and function of expertise of regional AEFI committee and national AEFI committee to conduct causality assessments using the opportunity of COVID-19 vaccination.</a:t>
          </a:r>
          <a:endParaRPr lang="en-GB" sz="1300" kern="1200" dirty="0">
            <a:solidFill>
              <a:schemeClr val="accent1"/>
            </a:solidFill>
          </a:endParaRPr>
        </a:p>
      </dsp:txBody>
      <dsp:txXfrm rot="10800000">
        <a:off x="630398" y="3275174"/>
        <a:ext cx="4947200" cy="1260794"/>
      </dsp:txXfrm>
    </dsp:sp>
    <dsp:sp modelId="{2B8815EE-8E16-4B94-9A43-582FDABEA376}">
      <dsp:nvSpPr>
        <dsp:cNvPr id="0" name=""/>
        <dsp:cNvSpPr/>
      </dsp:nvSpPr>
      <dsp:spPr>
        <a:xfrm>
          <a:off x="63820" y="3334923"/>
          <a:ext cx="1114100" cy="1143036"/>
        </a:xfrm>
        <a:prstGeom prst="ellipse">
          <a:avLst/>
        </a:prstGeom>
        <a:blipFill rotWithShape="1"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1C5DC9-3B94-4233-B75F-2F187107BF74}">
      <dsp:nvSpPr>
        <dsp:cNvPr id="0" name=""/>
        <dsp:cNvSpPr/>
      </dsp:nvSpPr>
      <dsp:spPr>
        <a:xfrm rot="10800000">
          <a:off x="693206" y="3"/>
          <a:ext cx="4996396" cy="1260794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975" tIns="49530" rIns="92456" bIns="4953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2">
                  <a:lumMod val="50000"/>
                </a:schemeClr>
              </a:solidFill>
            </a:rPr>
            <a:t>LEVERAGING DIGITAL DATA SYSTEM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2">
                  <a:lumMod val="50000"/>
                </a:schemeClr>
              </a:solidFill>
              <a:hlinkClick xmlns:r="http://schemas.openxmlformats.org/officeDocument/2006/relationships" r:id="rId1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India</a:t>
          </a:r>
          <a:r>
            <a:rPr lang="en-US" sz="1300" b="1" kern="1200" dirty="0"/>
            <a:t> </a:t>
          </a:r>
          <a:r>
            <a:rPr lang="en-US" sz="1300" b="0" kern="1200" dirty="0"/>
            <a:t>plans to expand the use of a</a:t>
          </a:r>
          <a:r>
            <a:rPr lang="en-US" sz="1300" kern="1200" dirty="0"/>
            <a:t>n electronic registration system (CoWIN) for COVID-19 vaccination to register priority groups, schedule appointments, generate vaccination certificates and monitor AEFIs to include all essential immunization</a:t>
          </a:r>
          <a:endParaRPr lang="en-GB" sz="1300" b="0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</dsp:txBody>
      <dsp:txXfrm rot="10800000">
        <a:off x="1008404" y="3"/>
        <a:ext cx="4681198" cy="1260794"/>
      </dsp:txXfrm>
    </dsp:sp>
    <dsp:sp modelId="{1DE9332B-C20E-4633-995B-D281F5209CC6}">
      <dsp:nvSpPr>
        <dsp:cNvPr id="0" name=""/>
        <dsp:cNvSpPr/>
      </dsp:nvSpPr>
      <dsp:spPr>
        <a:xfrm>
          <a:off x="0" y="9837"/>
          <a:ext cx="1260794" cy="1260794"/>
        </a:xfrm>
        <a:prstGeom prst="ellipse">
          <a:avLst/>
        </a:prstGeom>
        <a:blipFill rotWithShape="1">
          <a:blip xmlns:r="http://schemas.openxmlformats.org/officeDocument/2006/relationships" r:embed="rId2"/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6993E9-8266-46BC-B04C-904098557E8E}">
      <dsp:nvSpPr>
        <dsp:cNvPr id="0" name=""/>
        <dsp:cNvSpPr/>
      </dsp:nvSpPr>
      <dsp:spPr>
        <a:xfrm rot="10800000">
          <a:off x="482294" y="1638023"/>
          <a:ext cx="5207301" cy="1260794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975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ING COVID-19 AND VPD SURVEILLANCE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Timor-Leste</a:t>
          </a:r>
          <a:r>
            <a:rPr lang="en-US" sz="1300" b="1" kern="1200" dirty="0"/>
            <a:t> </a:t>
          </a:r>
          <a:r>
            <a:rPr lang="en-US" sz="1300" b="0" kern="1200" dirty="0"/>
            <a:t>is</a:t>
          </a:r>
          <a:r>
            <a:rPr lang="en-US" sz="1300" b="1" kern="1200" dirty="0"/>
            <a:t> </a:t>
          </a:r>
          <a:r>
            <a:rPr lang="en-US" sz="1300" kern="1200" dirty="0">
              <a:solidFill>
                <a:srgbClr val="000000"/>
              </a:solidFill>
              <a:latin typeface="Arial"/>
              <a:ea typeface="+mn-ea"/>
              <a:cs typeface="+mn-cs"/>
            </a:rPr>
            <a:t>pla</a:t>
          </a:r>
          <a:r>
            <a:rPr lang="en-US" sz="1300" kern="1200" dirty="0"/>
            <a:t>nning to integrate COVID-19 and VPD surveillance programmes within a comprehensive surveillance </a:t>
          </a:r>
          <a:r>
            <a:rPr lang="en-US" sz="1300" kern="1200" dirty="0" err="1"/>
            <a:t>programme</a:t>
          </a:r>
          <a:r>
            <a:rPr lang="en-US" sz="1300" kern="1200" dirty="0"/>
            <a:t>.</a:t>
          </a:r>
          <a:r>
            <a:rPr lang="en-GB" sz="1300" kern="1200" dirty="0">
              <a:solidFill>
                <a:schemeClr val="accent1"/>
              </a:solidFill>
            </a:rPr>
            <a:t>								</a:t>
          </a:r>
        </a:p>
      </dsp:txBody>
      <dsp:txXfrm rot="10800000">
        <a:off x="797492" y="1638023"/>
        <a:ext cx="4892103" cy="1260794"/>
      </dsp:txXfrm>
    </dsp:sp>
    <dsp:sp modelId="{E2505A97-C61F-4AEC-B7CB-0B33D74D0143}">
      <dsp:nvSpPr>
        <dsp:cNvPr id="0" name=""/>
        <dsp:cNvSpPr/>
      </dsp:nvSpPr>
      <dsp:spPr>
        <a:xfrm>
          <a:off x="0" y="1646988"/>
          <a:ext cx="1260794" cy="1260794"/>
        </a:xfrm>
        <a:prstGeom prst="ellipse">
          <a:avLst/>
        </a:prstGeom>
        <a:blipFill rotWithShape="1">
          <a:blip xmlns:r="http://schemas.openxmlformats.org/officeDocument/2006/relationships" r:embed="rId3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7D3A15-85F3-4171-96D0-9BED0914AB08}">
      <dsp:nvSpPr>
        <dsp:cNvPr id="0" name=""/>
        <dsp:cNvSpPr/>
      </dsp:nvSpPr>
      <dsp:spPr>
        <a:xfrm rot="10800000">
          <a:off x="427197" y="3276044"/>
          <a:ext cx="5262398" cy="1260794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975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COMPLIANCE WITH VACCINE SAFETY STANDARDS</a:t>
          </a:r>
        </a:p>
        <a:p>
          <a:pPr marL="0"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2">
                  <a:lumMod val="50000"/>
                </a:schemeClr>
              </a:solidFill>
            </a:rPr>
            <a:t>Bolivia</a:t>
          </a:r>
          <a:r>
            <a:rPr lang="en-US" sz="1300" b="1" kern="1200" dirty="0"/>
            <a:t> </a:t>
          </a:r>
          <a:r>
            <a:rPr lang="en-US" sz="1300" b="0" kern="1200" dirty="0"/>
            <a:t>e</a:t>
          </a:r>
          <a:r>
            <a:rPr lang="en-US" sz="1300" kern="1200" dirty="0"/>
            <a:t>stablished mass COVID-19 vaccination campaign sites complying with AEFI technical standards for prevention and care that can be reproduced for other mass vaccination campaigns.</a:t>
          </a:r>
          <a:endParaRPr lang="en-GB" sz="1300" kern="1200" dirty="0">
            <a:solidFill>
              <a:schemeClr val="accent1"/>
            </a:solidFill>
          </a:endParaRPr>
        </a:p>
      </dsp:txBody>
      <dsp:txXfrm rot="10800000">
        <a:off x="742395" y="3276044"/>
        <a:ext cx="4947200" cy="1260794"/>
      </dsp:txXfrm>
    </dsp:sp>
    <dsp:sp modelId="{2B8815EE-8E16-4B94-9A43-582FDABEA376}">
      <dsp:nvSpPr>
        <dsp:cNvPr id="0" name=""/>
        <dsp:cNvSpPr/>
      </dsp:nvSpPr>
      <dsp:spPr>
        <a:xfrm>
          <a:off x="0" y="3276047"/>
          <a:ext cx="1260794" cy="1260794"/>
        </a:xfrm>
        <a:prstGeom prst="ellipse">
          <a:avLst/>
        </a:prstGeom>
        <a:blipFill rotWithShape="1"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1C5DC9-3B94-4233-B75F-2F187107BF74}">
      <dsp:nvSpPr>
        <dsp:cNvPr id="0" name=""/>
        <dsp:cNvSpPr/>
      </dsp:nvSpPr>
      <dsp:spPr>
        <a:xfrm rot="10800000">
          <a:off x="510283" y="1525150"/>
          <a:ext cx="4954347" cy="1501193"/>
        </a:xfrm>
        <a:prstGeom prst="homePlate">
          <a:avLst/>
        </a:prstGeom>
        <a:solidFill>
          <a:schemeClr val="accent4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15825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008DC9">
                  <a:lumMod val="40000"/>
                  <a:lumOff val="60000"/>
                </a:srgbClr>
              </a:solidFill>
              <a:latin typeface="Arial"/>
              <a:ea typeface="+mn-ea"/>
              <a:cs typeface="+mn-cs"/>
            </a:rPr>
            <a:t>INTEGRATION OF GOVERNANCE PROCESSES</a:t>
          </a:r>
        </a:p>
        <a:p>
          <a:pPr marL="0"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u="none" kern="1200" dirty="0">
              <a:solidFill>
                <a:schemeClr val="accent3">
                  <a:lumMod val="40000"/>
                  <a:lumOff val="60000"/>
                </a:schemeClr>
              </a:solidFill>
            </a:rPr>
            <a:t>India: </a:t>
          </a:r>
          <a:r>
            <a:rPr lang="en-GB" sz="1400" b="0" u="none" kern="1200" dirty="0">
              <a:solidFill>
                <a:schemeClr val="tx2"/>
              </a:solidFill>
            </a:rPr>
            <a:t>Task forces in state/district/urban areas developed for monitoring polio data were integrated for EPI and are now starting to discuss COVID-19 vaccination.</a:t>
          </a:r>
          <a:r>
            <a:rPr lang="en-GB" sz="1400" b="0" kern="1200" dirty="0">
              <a:solidFill>
                <a:schemeClr val="tx2"/>
              </a:solidFill>
            </a:rPr>
            <a:t> </a:t>
          </a:r>
        </a:p>
      </dsp:txBody>
      <dsp:txXfrm rot="10800000">
        <a:off x="885581" y="1525150"/>
        <a:ext cx="4579049" cy="1501193"/>
      </dsp:txXfrm>
    </dsp:sp>
    <dsp:sp modelId="{1DE9332B-C20E-4633-995B-D281F5209CC6}">
      <dsp:nvSpPr>
        <dsp:cNvPr id="0" name=""/>
        <dsp:cNvSpPr/>
      </dsp:nvSpPr>
      <dsp:spPr>
        <a:xfrm>
          <a:off x="34910" y="1535048"/>
          <a:ext cx="1501193" cy="1501193"/>
        </a:xfrm>
        <a:prstGeom prst="ellipse">
          <a:avLst/>
        </a:prstGeom>
        <a:blipFill rotWithShape="1">
          <a:blip xmlns:r="http://schemas.openxmlformats.org/officeDocument/2006/relationships" r:embed="rId1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  <a:ln w="10795" cap="flat" cmpd="sng" algn="ctr">
          <a:solidFill>
            <a:srgbClr val="7F7F7F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1C5DC9-3B94-4233-B75F-2F187107BF74}">
      <dsp:nvSpPr>
        <dsp:cNvPr id="0" name=""/>
        <dsp:cNvSpPr/>
      </dsp:nvSpPr>
      <dsp:spPr>
        <a:xfrm rot="10800000">
          <a:off x="595876" y="74679"/>
          <a:ext cx="5296922" cy="1260794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975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accent2">
                  <a:lumMod val="50000"/>
                </a:schemeClr>
              </a:solidFill>
            </a:rPr>
            <a:t>CO-ADMINISTRATION WITH INFLUENZA VACCINATION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chemeClr val="accent2">
                  <a:lumMod val="50000"/>
                </a:schemeClr>
              </a:solidFill>
            </a:rPr>
            <a:t>Panama </a:t>
          </a:r>
          <a:r>
            <a:rPr lang="en-GB" sz="1400" b="0" kern="1200" dirty="0">
              <a:solidFill>
                <a:schemeClr val="tx1"/>
              </a:solidFill>
            </a:rPr>
            <a:t>integrated the delivery of COVID-19 &amp; influenza vaccination at health facilities and house-to-house during the Vaccination Week in the Americas</a:t>
          </a:r>
          <a:endParaRPr lang="en-GB" sz="1400" b="1" kern="1200" dirty="0">
            <a:solidFill>
              <a:schemeClr val="accent2">
                <a:lumMod val="50000"/>
              </a:schemeClr>
            </a:solidFill>
          </a:endParaRPr>
        </a:p>
      </dsp:txBody>
      <dsp:txXfrm rot="10800000">
        <a:off x="911074" y="74679"/>
        <a:ext cx="4981724" cy="1260794"/>
      </dsp:txXfrm>
    </dsp:sp>
    <dsp:sp modelId="{1DE9332B-C20E-4633-995B-D281F5209CC6}">
      <dsp:nvSpPr>
        <dsp:cNvPr id="0" name=""/>
        <dsp:cNvSpPr/>
      </dsp:nvSpPr>
      <dsp:spPr>
        <a:xfrm>
          <a:off x="0" y="94695"/>
          <a:ext cx="1244189" cy="1214485"/>
        </a:xfrm>
        <a:prstGeom prst="ellipse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6993E9-8266-46BC-B04C-904098557E8E}">
      <dsp:nvSpPr>
        <dsp:cNvPr id="0" name=""/>
        <dsp:cNvSpPr/>
      </dsp:nvSpPr>
      <dsp:spPr>
        <a:xfrm rot="10800000">
          <a:off x="595876" y="1640116"/>
          <a:ext cx="5296922" cy="1260794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975" tIns="45720" rIns="85344" bIns="4572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0" kern="1200" dirty="0">
              <a:solidFill>
                <a:schemeClr val="tx1"/>
              </a:solidFill>
            </a:rPr>
            <a:t>.</a:t>
          </a:r>
          <a:r>
            <a:rPr lang="en-US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ED DELIVERY WITH MEASLES OUTBREAK RESPONSE VACCINATION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Angola </a:t>
          </a:r>
          <a:r>
            <a:rPr lang="en-US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integrated the delivery of COVID-19 vaccination with measles outbreak response vaccination in children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911074" y="1640116"/>
        <a:ext cx="4981724" cy="1260794"/>
      </dsp:txXfrm>
    </dsp:sp>
    <dsp:sp modelId="{E2505A97-C61F-4AEC-B7CB-0B33D74D0143}">
      <dsp:nvSpPr>
        <dsp:cNvPr id="0" name=""/>
        <dsp:cNvSpPr/>
      </dsp:nvSpPr>
      <dsp:spPr>
        <a:xfrm>
          <a:off x="51849" y="1641705"/>
          <a:ext cx="1260794" cy="1260794"/>
        </a:xfrm>
        <a:prstGeom prst="ellipse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7D3A15-85F3-4171-96D0-9BED0914AB08}">
      <dsp:nvSpPr>
        <dsp:cNvPr id="0" name=""/>
        <dsp:cNvSpPr/>
      </dsp:nvSpPr>
      <dsp:spPr>
        <a:xfrm rot="10800000">
          <a:off x="485292" y="3209978"/>
          <a:ext cx="5317612" cy="1260794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975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MULTI-INTERVENTION CAMPAIGN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Nigeria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plans multi-intervention campaigns to concurrently deliver measles vaccines, other essential vaccines and vitamin A to children and COVID-19 vaccination to adults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800490" y="3209978"/>
        <a:ext cx="5002414" cy="1260794"/>
      </dsp:txXfrm>
    </dsp:sp>
    <dsp:sp modelId="{2B8815EE-8E16-4B94-9A43-582FDABEA376}">
      <dsp:nvSpPr>
        <dsp:cNvPr id="0" name=""/>
        <dsp:cNvSpPr/>
      </dsp:nvSpPr>
      <dsp:spPr>
        <a:xfrm>
          <a:off x="0" y="3209978"/>
          <a:ext cx="1260794" cy="1260794"/>
        </a:xfrm>
        <a:prstGeom prst="ellipse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1C5DC9-3B94-4233-B75F-2F187107BF74}">
      <dsp:nvSpPr>
        <dsp:cNvPr id="0" name=""/>
        <dsp:cNvSpPr/>
      </dsp:nvSpPr>
      <dsp:spPr>
        <a:xfrm rot="10800000">
          <a:off x="536409" y="93600"/>
          <a:ext cx="5122075" cy="1234058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44185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DELIVERING COVID-19 AND ESSENTIAL VACCINATIONS AT THE SAME FACILITY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dia &amp; Bangladesh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deliver COVID-19 and essential vaccines at the same outreach and health facility vaccination sites on different days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844923" y="93600"/>
        <a:ext cx="4813561" cy="1234058"/>
      </dsp:txXfrm>
    </dsp:sp>
    <dsp:sp modelId="{1DE9332B-C20E-4633-995B-D281F5209CC6}">
      <dsp:nvSpPr>
        <dsp:cNvPr id="0" name=""/>
        <dsp:cNvSpPr/>
      </dsp:nvSpPr>
      <dsp:spPr>
        <a:xfrm>
          <a:off x="0" y="110439"/>
          <a:ext cx="1172540" cy="1219014"/>
        </a:xfrm>
        <a:prstGeom prst="ellipse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6993E9-8266-46BC-B04C-904098557E8E}">
      <dsp:nvSpPr>
        <dsp:cNvPr id="0" name=""/>
        <dsp:cNvSpPr/>
      </dsp:nvSpPr>
      <dsp:spPr>
        <a:xfrm rot="10800000">
          <a:off x="536409" y="1604590"/>
          <a:ext cx="5122075" cy="1234058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44185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DELIVERING COVID-19 AND ESSENTIAL VACCINATIONS AT THE SAME FACILITY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Maldives </a:t>
          </a:r>
          <a:r>
            <a:rPr lang="en-GB" sz="1400" kern="1200" dirty="0">
              <a:solidFill>
                <a:schemeClr val="tx1"/>
              </a:solidFill>
            </a:rPr>
            <a:t>delivers COVID-19 and essential vaccination at the same outreach and health facility vaccination sites but at different times of the day.</a:t>
          </a:r>
        </a:p>
      </dsp:txBody>
      <dsp:txXfrm rot="10800000">
        <a:off x="844923" y="1604590"/>
        <a:ext cx="4813561" cy="1234058"/>
      </dsp:txXfrm>
    </dsp:sp>
    <dsp:sp modelId="{E2505A97-C61F-4AEC-B7CB-0B33D74D0143}">
      <dsp:nvSpPr>
        <dsp:cNvPr id="0" name=""/>
        <dsp:cNvSpPr/>
      </dsp:nvSpPr>
      <dsp:spPr>
        <a:xfrm>
          <a:off x="0" y="1568790"/>
          <a:ext cx="1234058" cy="1234058"/>
        </a:xfrm>
        <a:prstGeom prst="ellipse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7D3A15-85F3-4171-96D0-9BED0914AB08}">
      <dsp:nvSpPr>
        <dsp:cNvPr id="0" name=""/>
        <dsp:cNvSpPr/>
      </dsp:nvSpPr>
      <dsp:spPr>
        <a:xfrm rot="10800000">
          <a:off x="539199" y="3207023"/>
          <a:ext cx="5122075" cy="1327661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44185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ION OF VACCINATION WITH IDENTIFICATION OF RISK GROUP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Sri Lanka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screens caretakers of children coming for essential vaccination to check their COVID-19 vaccination status and offer vaccination to those who require it.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871114" y="3207023"/>
        <a:ext cx="4790160" cy="1327661"/>
      </dsp:txXfrm>
    </dsp:sp>
    <dsp:sp modelId="{2B8815EE-8E16-4B94-9A43-582FDABEA376}">
      <dsp:nvSpPr>
        <dsp:cNvPr id="0" name=""/>
        <dsp:cNvSpPr/>
      </dsp:nvSpPr>
      <dsp:spPr>
        <a:xfrm>
          <a:off x="0" y="3267986"/>
          <a:ext cx="1297624" cy="1134136"/>
        </a:xfrm>
        <a:prstGeom prst="ellipse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1C5DC9-3B94-4233-B75F-2F187107BF74}">
      <dsp:nvSpPr>
        <dsp:cNvPr id="0" name=""/>
        <dsp:cNvSpPr/>
      </dsp:nvSpPr>
      <dsp:spPr>
        <a:xfrm rot="10800000">
          <a:off x="595876" y="74679"/>
          <a:ext cx="5296922" cy="1260794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975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ED DELIVERY OF SERVICES DURING OUTREACH SESSION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Philippines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provides COVID-19 vaccine, essential vaccines, vitamin A supplementation and nutrition screening at different sites in a village during the same day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911074" y="74679"/>
        <a:ext cx="4981724" cy="1260794"/>
      </dsp:txXfrm>
    </dsp:sp>
    <dsp:sp modelId="{1DE9332B-C20E-4633-995B-D281F5209CC6}">
      <dsp:nvSpPr>
        <dsp:cNvPr id="0" name=""/>
        <dsp:cNvSpPr/>
      </dsp:nvSpPr>
      <dsp:spPr>
        <a:xfrm>
          <a:off x="0" y="75821"/>
          <a:ext cx="1244189" cy="1214485"/>
        </a:xfrm>
        <a:prstGeom prst="ellipse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  <a:ln w="1079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6993E9-8266-46BC-B04C-904098557E8E}">
      <dsp:nvSpPr>
        <dsp:cNvPr id="0" name=""/>
        <dsp:cNvSpPr/>
      </dsp:nvSpPr>
      <dsp:spPr>
        <a:xfrm rot="10800000">
          <a:off x="595876" y="1711830"/>
          <a:ext cx="5296922" cy="1260794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975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COVID-19 VACCINATION FOR CAREGIVERS DURING ESSENTIAL IMMUNIZATION VISIT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Ethiopia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screens care givers of children coming for essential immunization and provides COVID-19 vaccination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911074" y="1711830"/>
        <a:ext cx="4981724" cy="1260794"/>
      </dsp:txXfrm>
    </dsp:sp>
    <dsp:sp modelId="{E2505A97-C61F-4AEC-B7CB-0B33D74D0143}">
      <dsp:nvSpPr>
        <dsp:cNvPr id="0" name=""/>
        <dsp:cNvSpPr/>
      </dsp:nvSpPr>
      <dsp:spPr>
        <a:xfrm>
          <a:off x="14139" y="1713356"/>
          <a:ext cx="1260794" cy="1260794"/>
        </a:xfrm>
        <a:prstGeom prst="ellipse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7D3A15-85F3-4171-96D0-9BED0914AB08}">
      <dsp:nvSpPr>
        <dsp:cNvPr id="0" name=""/>
        <dsp:cNvSpPr/>
      </dsp:nvSpPr>
      <dsp:spPr>
        <a:xfrm rot="10800000">
          <a:off x="575186" y="3209978"/>
          <a:ext cx="5317612" cy="1260794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975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ING SOCIAL MOBILIZATION FOR COVID-19 WITH IDENTIFICATION OF MISSED CHILDREN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raq: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community mobilizers for COVID-19 vaccination also check vaccination records to identify children who missed essential vaccination doses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890384" y="3209978"/>
        <a:ext cx="5002414" cy="1260794"/>
      </dsp:txXfrm>
    </dsp:sp>
    <dsp:sp modelId="{2B8815EE-8E16-4B94-9A43-582FDABEA376}">
      <dsp:nvSpPr>
        <dsp:cNvPr id="0" name=""/>
        <dsp:cNvSpPr/>
      </dsp:nvSpPr>
      <dsp:spPr>
        <a:xfrm>
          <a:off x="0" y="3209978"/>
          <a:ext cx="1260794" cy="1260794"/>
        </a:xfrm>
        <a:prstGeom prst="ellipse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4000" b="-4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1C5DC9-3B94-4233-B75F-2F187107BF74}">
      <dsp:nvSpPr>
        <dsp:cNvPr id="0" name=""/>
        <dsp:cNvSpPr/>
      </dsp:nvSpPr>
      <dsp:spPr>
        <a:xfrm rot="10800000">
          <a:off x="498705" y="66071"/>
          <a:ext cx="5122075" cy="1260475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835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NCD SCREEDING AT MASS VACCINATION SITE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Cambodia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provided screening for non-communicable diseases at COVID-19 mass vaccination sites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813824" y="66071"/>
        <a:ext cx="4806956" cy="1260475"/>
      </dsp:txXfrm>
    </dsp:sp>
    <dsp:sp modelId="{1DE9332B-C20E-4633-995B-D281F5209CC6}">
      <dsp:nvSpPr>
        <dsp:cNvPr id="0" name=""/>
        <dsp:cNvSpPr/>
      </dsp:nvSpPr>
      <dsp:spPr>
        <a:xfrm>
          <a:off x="0" y="83270"/>
          <a:ext cx="1197640" cy="1245109"/>
        </a:xfrm>
        <a:prstGeom prst="ellipse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000" r="-2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6993E9-8266-46BC-B04C-904098557E8E}">
      <dsp:nvSpPr>
        <dsp:cNvPr id="0" name=""/>
        <dsp:cNvSpPr/>
      </dsp:nvSpPr>
      <dsp:spPr>
        <a:xfrm rot="10800000">
          <a:off x="536409" y="1638183"/>
          <a:ext cx="5122075" cy="1260475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835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WHOLE FAMILY APPROACH TO COVID-19 VACCINATION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Nigeria: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some states adopted a whole family approach combining COVID-19 vaccination with, nutritional and NCD screening and essential vaccines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851528" y="1638183"/>
        <a:ext cx="4806956" cy="1260475"/>
      </dsp:txXfrm>
    </dsp:sp>
    <dsp:sp modelId="{E2505A97-C61F-4AEC-B7CB-0B33D74D0143}">
      <dsp:nvSpPr>
        <dsp:cNvPr id="0" name=""/>
        <dsp:cNvSpPr/>
      </dsp:nvSpPr>
      <dsp:spPr>
        <a:xfrm>
          <a:off x="0" y="1601617"/>
          <a:ext cx="1260475" cy="1260475"/>
        </a:xfrm>
        <a:prstGeom prst="ellipse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7D3A15-85F3-4171-96D0-9BED0914AB08}">
      <dsp:nvSpPr>
        <dsp:cNvPr id="0" name=""/>
        <dsp:cNvSpPr/>
      </dsp:nvSpPr>
      <dsp:spPr>
        <a:xfrm rot="10800000">
          <a:off x="536409" y="3274919"/>
          <a:ext cx="5122075" cy="1260475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555835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ING COVID-19 VACCINATION WITH NCD SCREENING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Panama </a:t>
          </a:r>
          <a:r>
            <a:rPr lang="en-GB" sz="14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provided NCD and cervical cancer screening along with COVID-19 vaccination during the Vaccine Week in the Americas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851528" y="3274919"/>
        <a:ext cx="4806956" cy="1260475"/>
      </dsp:txXfrm>
    </dsp:sp>
    <dsp:sp modelId="{2B8815EE-8E16-4B94-9A43-582FDABEA376}">
      <dsp:nvSpPr>
        <dsp:cNvPr id="0" name=""/>
        <dsp:cNvSpPr/>
      </dsp:nvSpPr>
      <dsp:spPr>
        <a:xfrm>
          <a:off x="0" y="3238353"/>
          <a:ext cx="1260475" cy="1260475"/>
        </a:xfrm>
        <a:prstGeom prst="ellipse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6993E9-8266-46BC-B04C-904098557E8E}">
      <dsp:nvSpPr>
        <dsp:cNvPr id="0" name=""/>
        <dsp:cNvSpPr/>
      </dsp:nvSpPr>
      <dsp:spPr>
        <a:xfrm rot="10800000">
          <a:off x="576529" y="0"/>
          <a:ext cx="5184596" cy="1115426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639875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PARTNERING WITH OTHER PROGRAMMES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The United Republic of Tanzania </a:t>
          </a:r>
          <a:r>
            <a:rPr lang="en-US" sz="13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partnered with the HIV programme and with physicians treating NCDs to provide COVID-19 vaccination in the respective clinics along with clinical care.</a:t>
          </a:r>
          <a:endParaRPr lang="en-GB" sz="13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855385" y="0"/>
        <a:ext cx="4905740" cy="1115426"/>
      </dsp:txXfrm>
    </dsp:sp>
    <dsp:sp modelId="{E2505A97-C61F-4AEC-B7CB-0B33D74D0143}">
      <dsp:nvSpPr>
        <dsp:cNvPr id="0" name=""/>
        <dsp:cNvSpPr/>
      </dsp:nvSpPr>
      <dsp:spPr>
        <a:xfrm>
          <a:off x="382635" y="0"/>
          <a:ext cx="993726" cy="969435"/>
        </a:xfrm>
        <a:prstGeom prst="ellipse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F65AD57-87B0-45D7-BBAE-C54BF5628A3E}">
      <dsp:nvSpPr>
        <dsp:cNvPr id="0" name=""/>
        <dsp:cNvSpPr/>
      </dsp:nvSpPr>
      <dsp:spPr>
        <a:xfrm rot="10800000">
          <a:off x="525285" y="1458765"/>
          <a:ext cx="5184596" cy="1230727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639875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ION OF COVID-19 VACCINATION &amp; TESTING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Liberia </a:t>
          </a:r>
          <a:r>
            <a:rPr lang="en-US" sz="13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integrated COVID-19 vaccination and testing in the same facilities to improve vaccination uptake.</a:t>
          </a:r>
          <a:endParaRPr lang="en-US" sz="13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3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832967" y="1458765"/>
        <a:ext cx="4876914" cy="1230727"/>
      </dsp:txXfrm>
    </dsp:sp>
    <dsp:sp modelId="{2EBDBC15-13E2-45C5-B4B0-E97544CE06C1}">
      <dsp:nvSpPr>
        <dsp:cNvPr id="0" name=""/>
        <dsp:cNvSpPr/>
      </dsp:nvSpPr>
      <dsp:spPr>
        <a:xfrm>
          <a:off x="230579" y="1585007"/>
          <a:ext cx="1003622" cy="1023284"/>
        </a:xfrm>
        <a:prstGeom prst="ellipse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000" b="-1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4F5A15-6819-4864-A9C4-207CBD3F2602}">
      <dsp:nvSpPr>
        <dsp:cNvPr id="0" name=""/>
        <dsp:cNvSpPr/>
      </dsp:nvSpPr>
      <dsp:spPr>
        <a:xfrm rot="10800000">
          <a:off x="486354" y="3083553"/>
          <a:ext cx="5184596" cy="1255076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639875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ED SERVICE DELIVERY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Somalia: </a:t>
          </a:r>
          <a:r>
            <a:rPr lang="en-US" sz="13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integrated outreach programmes provided COVID-19 vaccines along with other essential vaccines, vitamin A, zinc, ORS packets, and medical consultation to eligible persons in the community</a:t>
          </a:r>
          <a:endParaRPr lang="en-US" sz="13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800123" y="3083553"/>
        <a:ext cx="4870827" cy="1255076"/>
      </dsp:txXfrm>
    </dsp:sp>
    <dsp:sp modelId="{9172B01B-0B73-482F-AC73-E473C893B21A}">
      <dsp:nvSpPr>
        <dsp:cNvPr id="0" name=""/>
        <dsp:cNvSpPr/>
      </dsp:nvSpPr>
      <dsp:spPr>
        <a:xfrm>
          <a:off x="191183" y="3187898"/>
          <a:ext cx="1014592" cy="1015100"/>
        </a:xfrm>
        <a:prstGeom prst="ellipse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7D3A15-85F3-4171-96D0-9BED0914AB08}">
      <dsp:nvSpPr>
        <dsp:cNvPr id="0" name=""/>
        <dsp:cNvSpPr/>
      </dsp:nvSpPr>
      <dsp:spPr>
        <a:xfrm rot="10800000">
          <a:off x="451335" y="378591"/>
          <a:ext cx="5122075" cy="1368266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852058" tIns="53340" rIns="99568" bIns="5334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ED DELIVERY WITH ESSENTIAL VACCINES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 dirty="0">
              <a:solidFill>
                <a:schemeClr val="accent2">
                  <a:lumMod val="50000"/>
                </a:schemeClr>
              </a:solidFill>
            </a:rPr>
            <a:t>Honduras and Yemen</a:t>
          </a:r>
          <a:r>
            <a:rPr lang="en-US" sz="1400" b="1" kern="1200" dirty="0"/>
            <a:t>:</a:t>
          </a:r>
          <a:r>
            <a:rPr lang="en-US" sz="1400" kern="1200" dirty="0"/>
            <a:t> All health facilities offer COVID-19 vaccines and other essential vaccines for adults.</a:t>
          </a:r>
          <a:endParaRPr lang="en-GB" sz="14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793401" y="378591"/>
        <a:ext cx="4780009" cy="1368266"/>
      </dsp:txXfrm>
    </dsp:sp>
    <dsp:sp modelId="{2B8815EE-8E16-4B94-9A43-582FDABEA376}">
      <dsp:nvSpPr>
        <dsp:cNvPr id="0" name=""/>
        <dsp:cNvSpPr/>
      </dsp:nvSpPr>
      <dsp:spPr>
        <a:xfrm>
          <a:off x="181667" y="442499"/>
          <a:ext cx="1141829" cy="1276080"/>
        </a:xfrm>
        <a:prstGeom prst="ellipse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DED141-EE3C-48AE-A70B-43FB9F30CB77}">
      <dsp:nvSpPr>
        <dsp:cNvPr id="0" name=""/>
        <dsp:cNvSpPr/>
      </dsp:nvSpPr>
      <dsp:spPr>
        <a:xfrm rot="10800000">
          <a:off x="438927" y="2868017"/>
          <a:ext cx="5268020" cy="1297547"/>
        </a:xfrm>
        <a:prstGeom prst="homePlate">
          <a:avLst/>
        </a:prstGeom>
        <a:solidFill>
          <a:schemeClr val="accent2">
            <a:tint val="65000"/>
          </a:schemeClr>
        </a:solidFill>
        <a:ln w="9525" cap="flat" cmpd="sng" algn="ctr">
          <a:solidFill>
            <a:schemeClr val="accent2"/>
          </a:solidFill>
          <a:prstDash val="solid"/>
        </a:ln>
        <a:effectLst/>
      </dsp:spPr>
      <dsp:style>
        <a:lnRef idx="1">
          <a:schemeClr val="accent2"/>
        </a:lnRef>
        <a:fillRef idx="2">
          <a:schemeClr val="accent2"/>
        </a:fillRef>
        <a:effectRef idx="1">
          <a:schemeClr val="accent2"/>
        </a:effectRef>
        <a:fontRef idx="minor">
          <a:schemeClr val="dk1"/>
        </a:fontRef>
      </dsp:style>
      <dsp:txBody>
        <a:bodyPr spcFirstLastPara="0" vert="horz" wrap="square" lIns="852058" tIns="49530" rIns="92456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INTEGRATED DELIVERY WITH ANC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Fiji </a:t>
          </a:r>
          <a:r>
            <a:rPr lang="en-GB" sz="1300" b="0" kern="1200" dirty="0">
              <a:solidFill>
                <a:schemeClr val="tx1"/>
              </a:solidFill>
              <a:latin typeface="Arial"/>
              <a:ea typeface="+mn-ea"/>
              <a:cs typeface="+mn-cs"/>
            </a:rPr>
            <a:t>integrated COVID-19 vaccination with antenatal care services to allay fears among pregnant women about the safety of vaccines and improve uptake</a:t>
          </a:r>
          <a:r>
            <a:rPr lang="en-GB" sz="1300" b="1" kern="1200" dirty="0">
              <a:solidFill>
                <a:srgbClr val="94D502">
                  <a:lumMod val="50000"/>
                </a:srgbClr>
              </a:solidFill>
              <a:latin typeface="Arial"/>
              <a:ea typeface="+mn-ea"/>
              <a:cs typeface="+mn-cs"/>
            </a:rPr>
            <a:t> </a:t>
          </a:r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300" b="1" kern="1200" dirty="0">
            <a:solidFill>
              <a:srgbClr val="94D502">
                <a:lumMod val="50000"/>
              </a:srgbClr>
            </a:solidFill>
            <a:latin typeface="Arial"/>
            <a:ea typeface="+mn-ea"/>
            <a:cs typeface="+mn-cs"/>
          </a:endParaRPr>
        </a:p>
      </dsp:txBody>
      <dsp:txXfrm rot="10800000">
        <a:off x="763314" y="2868017"/>
        <a:ext cx="4943633" cy="1297547"/>
      </dsp:txXfrm>
    </dsp:sp>
    <dsp:sp modelId="{D679F3D5-72B7-485C-A841-58BD76EDADA2}">
      <dsp:nvSpPr>
        <dsp:cNvPr id="0" name=""/>
        <dsp:cNvSpPr/>
      </dsp:nvSpPr>
      <dsp:spPr>
        <a:xfrm>
          <a:off x="9" y="2878422"/>
          <a:ext cx="1249280" cy="1334356"/>
        </a:xfrm>
        <a:prstGeom prst="ellipse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000" r="-3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1C5DC9-3B94-4233-B75F-2F187107BF74}">
      <dsp:nvSpPr>
        <dsp:cNvPr id="0" name=""/>
        <dsp:cNvSpPr/>
      </dsp:nvSpPr>
      <dsp:spPr>
        <a:xfrm rot="10800000">
          <a:off x="448358" y="27765"/>
          <a:ext cx="5231989" cy="1260794"/>
        </a:xfrm>
        <a:prstGeom prst="homePlate">
          <a:avLst/>
        </a:prstGeom>
        <a:solidFill>
          <a:schemeClr val="accent5">
            <a:lumMod val="60000"/>
            <a:lumOff val="4000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5975" tIns="49530" rIns="92456" bIns="4953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IN" sz="1300" b="1" kern="1200" dirty="0">
              <a:solidFill>
                <a:schemeClr val="accent1">
                  <a:lumMod val="75000"/>
                  <a:lumOff val="25000"/>
                </a:schemeClr>
              </a:solidFill>
            </a:rPr>
            <a:t>STRENGTHENING REGULATORY CAPACITY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chemeClr val="accent3">
                  <a:lumMod val="75000"/>
                </a:schemeClr>
              </a:solidFill>
            </a:rPr>
            <a:t>Philippines and Indonesia</a:t>
          </a:r>
          <a:r>
            <a:rPr lang="en-GB" sz="1300" kern="1200" dirty="0">
              <a:solidFill>
                <a:schemeClr val="tx1"/>
              </a:solidFill>
            </a:rPr>
            <a:t>: Fast-tracked the process for emergency regulatory authorization, which could be capitalized for future emergency-related products.</a:t>
          </a:r>
          <a:endParaRPr lang="en-IN" sz="1300" kern="1200" dirty="0">
            <a:solidFill>
              <a:schemeClr val="tx1"/>
            </a:solidFill>
          </a:endParaRPr>
        </a:p>
      </dsp:txBody>
      <dsp:txXfrm rot="10800000">
        <a:off x="763556" y="27765"/>
        <a:ext cx="4916791" cy="1260794"/>
      </dsp:txXfrm>
    </dsp:sp>
    <dsp:sp modelId="{1DE9332B-C20E-4633-995B-D281F5209CC6}">
      <dsp:nvSpPr>
        <dsp:cNvPr id="0" name=""/>
        <dsp:cNvSpPr/>
      </dsp:nvSpPr>
      <dsp:spPr>
        <a:xfrm>
          <a:off x="0" y="81652"/>
          <a:ext cx="1292528" cy="1170950"/>
        </a:xfrm>
        <a:prstGeom prst="ellipse">
          <a:avLst/>
        </a:prstGeom>
        <a:blipFill rotWithShape="1"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000" b="-3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6993E9-8266-46BC-B04C-904098557E8E}">
      <dsp:nvSpPr>
        <dsp:cNvPr id="0" name=""/>
        <dsp:cNvSpPr/>
      </dsp:nvSpPr>
      <dsp:spPr>
        <a:xfrm rot="10800000">
          <a:off x="428999" y="1664916"/>
          <a:ext cx="5270705" cy="1260794"/>
        </a:xfrm>
        <a:prstGeom prst="homePlate">
          <a:avLst/>
        </a:prstGeom>
        <a:solidFill>
          <a:schemeClr val="accent5">
            <a:lumMod val="60000"/>
            <a:lumOff val="4000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5975" tIns="49530" rIns="92456" bIns="4953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INTEGRATED APPROACH TO COLD CHAIN CAPACITY PLANNING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3">
                  <a:lumMod val="75000"/>
                </a:schemeClr>
              </a:solidFill>
            </a:rPr>
            <a:t>Cambodia:</a:t>
          </a:r>
          <a:r>
            <a:rPr lang="en-US" sz="1300" kern="1200" dirty="0">
              <a:solidFill>
                <a:schemeClr val="accent3">
                  <a:lumMod val="75000"/>
                </a:schemeClr>
              </a:solidFill>
            </a:rPr>
            <a:t> </a:t>
          </a:r>
          <a:r>
            <a:rPr lang="en-US" sz="1300" kern="1200" dirty="0">
              <a:solidFill>
                <a:schemeClr val="tx1"/>
              </a:solidFill>
            </a:rPr>
            <a:t>Cold chain assessment and distribution for COVID-19 vaccine deployment was integrated with essential immunizations when planning cold chain capacity</a:t>
          </a:r>
          <a:endParaRPr lang="en-GB" sz="1300" b="1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</dsp:txBody>
      <dsp:txXfrm rot="10800000">
        <a:off x="744197" y="1664916"/>
        <a:ext cx="4955507" cy="1260794"/>
      </dsp:txXfrm>
    </dsp:sp>
    <dsp:sp modelId="{E2505A97-C61F-4AEC-B7CB-0B33D74D0143}">
      <dsp:nvSpPr>
        <dsp:cNvPr id="0" name=""/>
        <dsp:cNvSpPr/>
      </dsp:nvSpPr>
      <dsp:spPr>
        <a:xfrm>
          <a:off x="0" y="1664916"/>
          <a:ext cx="1260794" cy="1260794"/>
        </a:xfrm>
        <a:prstGeom prst="ellipse">
          <a:avLst/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B7D3A15-85F3-4171-96D0-9BED0914AB08}">
      <dsp:nvSpPr>
        <dsp:cNvPr id="0" name=""/>
        <dsp:cNvSpPr/>
      </dsp:nvSpPr>
      <dsp:spPr>
        <a:xfrm rot="10800000">
          <a:off x="448358" y="3276044"/>
          <a:ext cx="5231989" cy="1260794"/>
        </a:xfrm>
        <a:prstGeom prst="homePlate">
          <a:avLst/>
        </a:prstGeom>
        <a:solidFill>
          <a:schemeClr val="accent5">
            <a:lumMod val="60000"/>
            <a:lumOff val="4000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5975" tIns="49530" rIns="92456" bIns="4953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300" b="1" kern="1200" dirty="0">
              <a:solidFill>
                <a:srgbClr val="092C3A">
                  <a:lumMod val="75000"/>
                  <a:lumOff val="25000"/>
                </a:srgbClr>
              </a:solidFill>
              <a:latin typeface="Arial"/>
              <a:ea typeface="+mn-ea"/>
              <a:cs typeface="+mn-cs"/>
            </a:rPr>
            <a:t>LEVERAGING THE EXISTING E-LMIS FOR COVID-19 STOCK MANAGEMENT</a:t>
          </a:r>
        </a:p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300" b="1" kern="1200" dirty="0">
              <a:solidFill>
                <a:schemeClr val="accent3">
                  <a:lumMod val="75000"/>
                </a:schemeClr>
              </a:solidFill>
            </a:rPr>
            <a:t>Senegal </a:t>
          </a:r>
          <a:r>
            <a:rPr lang="en-US" sz="1300" b="0" kern="1200" dirty="0">
              <a:solidFill>
                <a:schemeClr val="tx1"/>
              </a:solidFill>
            </a:rPr>
            <a:t>used the existing</a:t>
          </a:r>
          <a:r>
            <a:rPr lang="en-US" sz="1300" kern="1200" dirty="0">
              <a:solidFill>
                <a:schemeClr val="tx1"/>
              </a:solidFill>
            </a:rPr>
            <a:t> eLMIS, a real-time stock-monitoring tool in each health facility, for rationally redirecting COVID-19 stock flows to points of care based on consumption rates.</a:t>
          </a:r>
          <a:endParaRPr lang="en-GB" sz="1300" b="1" kern="1200" dirty="0">
            <a:solidFill>
              <a:schemeClr val="tx1"/>
            </a:solidFill>
            <a:latin typeface="Arial"/>
            <a:ea typeface="+mn-ea"/>
            <a:cs typeface="+mn-cs"/>
          </a:endParaRPr>
        </a:p>
      </dsp:txBody>
      <dsp:txXfrm rot="10800000">
        <a:off x="763556" y="3276044"/>
        <a:ext cx="4916791" cy="1260794"/>
      </dsp:txXfrm>
    </dsp:sp>
    <dsp:sp modelId="{2B8815EE-8E16-4B94-9A43-582FDABEA376}">
      <dsp:nvSpPr>
        <dsp:cNvPr id="0" name=""/>
        <dsp:cNvSpPr/>
      </dsp:nvSpPr>
      <dsp:spPr>
        <a:xfrm>
          <a:off x="0" y="3276047"/>
          <a:ext cx="1260794" cy="1260794"/>
        </a:xfrm>
        <a:prstGeom prst="ellipse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E41E4C-4CBB-4E34-9541-3742C931A56F}" type="datetimeFigureOut">
              <a:rPr lang="en-GB" smtClean="0"/>
              <a:t>22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D4F724-2ACF-46AA-85E0-6191641C0C5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20006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20B7886-627E-4E93-99DE-BDAAAC0E8236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November 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5848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© Copyright </a:t>
            </a:r>
            <a:r>
              <a:rPr lang="en-US" b="1"/>
              <a:t>PresentationGO.com</a:t>
            </a:r>
            <a:r>
              <a:rPr lang="en-US"/>
              <a:t> – The free PowerPoint and Google Slides template libr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8D2766-C49B-4C1A-9FEE-6F146754B02B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7345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04B217-8C90-4E99-BCBC-0DF0E4E4EF28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 November 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41750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5.xml"/><Relationship Id="rId7" Type="http://schemas.openxmlformats.org/officeDocument/2006/relationships/oleObject" Target="../embeddings/oleObject2.bin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image" Target="../media/image1.emf"/><Relationship Id="rId5" Type="http://schemas.openxmlformats.org/officeDocument/2006/relationships/tags" Target="../tags/tag93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92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4.xml"/><Relationship Id="rId3" Type="http://schemas.openxmlformats.org/officeDocument/2006/relationships/tags" Target="../tags/tag99.xml"/><Relationship Id="rId7" Type="http://schemas.openxmlformats.org/officeDocument/2006/relationships/tags" Target="../tags/tag10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6" Type="http://schemas.openxmlformats.org/officeDocument/2006/relationships/tags" Target="../tags/tag102.xml"/><Relationship Id="rId11" Type="http://schemas.openxmlformats.org/officeDocument/2006/relationships/image" Target="../media/image1.emf"/><Relationship Id="rId5" Type="http://schemas.openxmlformats.org/officeDocument/2006/relationships/tags" Target="../tags/tag101.xml"/><Relationship Id="rId10" Type="http://schemas.openxmlformats.org/officeDocument/2006/relationships/oleObject" Target="../embeddings/oleObject12.bin"/><Relationship Id="rId4" Type="http://schemas.openxmlformats.org/officeDocument/2006/relationships/tags" Target="../tags/tag100.xml"/><Relationship Id="rId9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tags" Target="../tags/tag110.xml"/><Relationship Id="rId11" Type="http://schemas.openxmlformats.org/officeDocument/2006/relationships/image" Target="../media/image1.emf"/><Relationship Id="rId5" Type="http://schemas.openxmlformats.org/officeDocument/2006/relationships/tags" Target="../tags/tag109.xml"/><Relationship Id="rId10" Type="http://schemas.openxmlformats.org/officeDocument/2006/relationships/oleObject" Target="../embeddings/oleObject13.bin"/><Relationship Id="rId4" Type="http://schemas.openxmlformats.org/officeDocument/2006/relationships/tags" Target="../tags/tag108.xml"/><Relationship Id="rId9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120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tags" Target="../tags/tag118.xml"/><Relationship Id="rId11" Type="http://schemas.openxmlformats.org/officeDocument/2006/relationships/image" Target="../media/image6.emf"/><Relationship Id="rId5" Type="http://schemas.openxmlformats.org/officeDocument/2006/relationships/tags" Target="../tags/tag117.xml"/><Relationship Id="rId10" Type="http://schemas.openxmlformats.org/officeDocument/2006/relationships/oleObject" Target="../embeddings/oleObject14.bin"/><Relationship Id="rId4" Type="http://schemas.openxmlformats.org/officeDocument/2006/relationships/tags" Target="../tags/tag116.xml"/><Relationship Id="rId9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3" Type="http://schemas.openxmlformats.org/officeDocument/2006/relationships/tags" Target="../tags/tag123.xml"/><Relationship Id="rId7" Type="http://schemas.openxmlformats.org/officeDocument/2006/relationships/tags" Target="../tags/tag127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11" Type="http://schemas.openxmlformats.org/officeDocument/2006/relationships/image" Target="../media/image1.emf"/><Relationship Id="rId5" Type="http://schemas.openxmlformats.org/officeDocument/2006/relationships/tags" Target="../tags/tag125.xml"/><Relationship Id="rId10" Type="http://schemas.openxmlformats.org/officeDocument/2006/relationships/oleObject" Target="../embeddings/oleObject15.bin"/><Relationship Id="rId4" Type="http://schemas.openxmlformats.org/officeDocument/2006/relationships/tags" Target="../tags/tag124.xml"/><Relationship Id="rId9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36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11" Type="http://schemas.openxmlformats.org/officeDocument/2006/relationships/image" Target="../media/image1.emf"/><Relationship Id="rId5" Type="http://schemas.openxmlformats.org/officeDocument/2006/relationships/tags" Target="../tags/tag133.xml"/><Relationship Id="rId10" Type="http://schemas.openxmlformats.org/officeDocument/2006/relationships/oleObject" Target="../embeddings/oleObject16.bin"/><Relationship Id="rId4" Type="http://schemas.openxmlformats.org/officeDocument/2006/relationships/tags" Target="../tags/tag132.xml"/><Relationship Id="rId9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39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1.xml"/><Relationship Id="rId4" Type="http://schemas.openxmlformats.org/officeDocument/2006/relationships/tags" Target="../tags/tag140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2" Type="http://schemas.openxmlformats.org/officeDocument/2006/relationships/tags" Target="../tags/tag143.xml"/><Relationship Id="rId1" Type="http://schemas.openxmlformats.org/officeDocument/2006/relationships/tags" Target="../tags/tag142.xml"/><Relationship Id="rId6" Type="http://schemas.openxmlformats.org/officeDocument/2006/relationships/tags" Target="../tags/tag147.xml"/><Relationship Id="rId11" Type="http://schemas.openxmlformats.org/officeDocument/2006/relationships/image" Target="../media/image1.emf"/><Relationship Id="rId5" Type="http://schemas.openxmlformats.org/officeDocument/2006/relationships/tags" Target="../tags/tag146.xml"/><Relationship Id="rId10" Type="http://schemas.openxmlformats.org/officeDocument/2006/relationships/oleObject" Target="../embeddings/oleObject18.bin"/><Relationship Id="rId4" Type="http://schemas.openxmlformats.org/officeDocument/2006/relationships/tags" Target="../tags/tag145.xml"/><Relationship Id="rId9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11" Type="http://schemas.openxmlformats.org/officeDocument/2006/relationships/image" Target="../media/image1.emf"/><Relationship Id="rId5" Type="http://schemas.openxmlformats.org/officeDocument/2006/relationships/tags" Target="../tags/tag154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53.xml"/><Relationship Id="rId9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3" Type="http://schemas.openxmlformats.org/officeDocument/2006/relationships/tags" Target="../tags/tag160.xml"/><Relationship Id="rId7" Type="http://schemas.openxmlformats.org/officeDocument/2006/relationships/tags" Target="../tags/tag164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tags" Target="../tags/tag163.xml"/><Relationship Id="rId11" Type="http://schemas.openxmlformats.org/officeDocument/2006/relationships/image" Target="../media/image1.emf"/><Relationship Id="rId5" Type="http://schemas.openxmlformats.org/officeDocument/2006/relationships/tags" Target="../tags/tag162.xml"/><Relationship Id="rId10" Type="http://schemas.openxmlformats.org/officeDocument/2006/relationships/oleObject" Target="../embeddings/oleObject20.bin"/><Relationship Id="rId4" Type="http://schemas.openxmlformats.org/officeDocument/2006/relationships/tags" Target="../tags/tag161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30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tags" Target="../tags/tag33.xml"/><Relationship Id="rId11" Type="http://schemas.openxmlformats.org/officeDocument/2006/relationships/image" Target="../media/image5.png"/><Relationship Id="rId5" Type="http://schemas.openxmlformats.org/officeDocument/2006/relationships/tags" Target="../tags/tag32.xml"/><Relationship Id="rId10" Type="http://schemas.openxmlformats.org/officeDocument/2006/relationships/image" Target="../media/image4.jpeg"/><Relationship Id="rId4" Type="http://schemas.openxmlformats.org/officeDocument/2006/relationships/tags" Target="../tags/tag31.xml"/><Relationship Id="rId9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image" Target="../media/image7.emf"/><Relationship Id="rId2" Type="http://schemas.openxmlformats.org/officeDocument/2006/relationships/tags" Target="../tags/tag167.xml"/><Relationship Id="rId1" Type="http://schemas.openxmlformats.org/officeDocument/2006/relationships/tags" Target="../tags/tag166.xml"/><Relationship Id="rId6" Type="http://schemas.openxmlformats.org/officeDocument/2006/relationships/oleObject" Target="../embeddings/oleObject2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9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image" Target="../media/image7.emf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7.emf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77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0.xml"/><Relationship Id="rId7" Type="http://schemas.openxmlformats.org/officeDocument/2006/relationships/oleObject" Target="../embeddings/oleObject24.bin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2.xml"/><Relationship Id="rId4" Type="http://schemas.openxmlformats.org/officeDocument/2006/relationships/tags" Target="../tags/tag18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85.xml"/><Relationship Id="rId7" Type="http://schemas.openxmlformats.org/officeDocument/2006/relationships/image" Target="../media/image2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6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2.emf"/><Relationship Id="rId2" Type="http://schemas.openxmlformats.org/officeDocument/2006/relationships/tags" Target="../tags/tag188.xml"/><Relationship Id="rId1" Type="http://schemas.openxmlformats.org/officeDocument/2006/relationships/tags" Target="../tags/tag187.xml"/><Relationship Id="rId6" Type="http://schemas.openxmlformats.org/officeDocument/2006/relationships/oleObject" Target="../embeddings/oleObject2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0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15.xml"/><Relationship Id="rId7" Type="http://schemas.openxmlformats.org/officeDocument/2006/relationships/oleObject" Target="../embeddings/oleObject28.bin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17.xml"/><Relationship Id="rId4" Type="http://schemas.openxmlformats.org/officeDocument/2006/relationships/tags" Target="../tags/tag216.xml"/><Relationship Id="rId9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tags" Target="../tags/tag220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19.xml"/><Relationship Id="rId1" Type="http://schemas.openxmlformats.org/officeDocument/2006/relationships/tags" Target="../tags/tag218.xml"/><Relationship Id="rId6" Type="http://schemas.openxmlformats.org/officeDocument/2006/relationships/tags" Target="../tags/tag223.xml"/><Relationship Id="rId11" Type="http://schemas.openxmlformats.org/officeDocument/2006/relationships/image" Target="../media/image5.png"/><Relationship Id="rId5" Type="http://schemas.openxmlformats.org/officeDocument/2006/relationships/tags" Target="../tags/tag222.xml"/><Relationship Id="rId10" Type="http://schemas.openxmlformats.org/officeDocument/2006/relationships/image" Target="../media/image4.jpeg"/><Relationship Id="rId4" Type="http://schemas.openxmlformats.org/officeDocument/2006/relationships/tags" Target="../tags/tag221.xml"/><Relationship Id="rId9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26.xml"/><Relationship Id="rId7" Type="http://schemas.openxmlformats.org/officeDocument/2006/relationships/tags" Target="../tags/tag230.xml"/><Relationship Id="rId2" Type="http://schemas.openxmlformats.org/officeDocument/2006/relationships/tags" Target="../tags/tag225.xml"/><Relationship Id="rId1" Type="http://schemas.openxmlformats.org/officeDocument/2006/relationships/tags" Target="../tags/tag224.xml"/><Relationship Id="rId6" Type="http://schemas.openxmlformats.org/officeDocument/2006/relationships/tags" Target="../tags/tag229.xml"/><Relationship Id="rId5" Type="http://schemas.openxmlformats.org/officeDocument/2006/relationships/tags" Target="../tags/tag228.xml"/><Relationship Id="rId10" Type="http://schemas.openxmlformats.org/officeDocument/2006/relationships/image" Target="../media/image2.emf"/><Relationship Id="rId4" Type="http://schemas.openxmlformats.org/officeDocument/2006/relationships/tags" Target="../tags/tag227.xml"/><Relationship Id="rId9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2.emf"/><Relationship Id="rId4" Type="http://schemas.openxmlformats.org/officeDocument/2006/relationships/tags" Target="../tags/tag37.xml"/><Relationship Id="rId9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2" Type="http://schemas.openxmlformats.org/officeDocument/2006/relationships/tags" Target="../tags/tag232.xml"/><Relationship Id="rId1" Type="http://schemas.openxmlformats.org/officeDocument/2006/relationships/tags" Target="../tags/tag231.xml"/><Relationship Id="rId6" Type="http://schemas.openxmlformats.org/officeDocument/2006/relationships/tags" Target="../tags/tag236.xml"/><Relationship Id="rId11" Type="http://schemas.openxmlformats.org/officeDocument/2006/relationships/image" Target="../media/image1.emf"/><Relationship Id="rId5" Type="http://schemas.openxmlformats.org/officeDocument/2006/relationships/tags" Target="../tags/tag235.xml"/><Relationship Id="rId10" Type="http://schemas.openxmlformats.org/officeDocument/2006/relationships/oleObject" Target="../embeddings/oleObject31.bin"/><Relationship Id="rId4" Type="http://schemas.openxmlformats.org/officeDocument/2006/relationships/tags" Target="../tags/tag234.xml"/><Relationship Id="rId9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6" Type="http://schemas.openxmlformats.org/officeDocument/2006/relationships/tags" Target="../tags/tag244.xml"/><Relationship Id="rId11" Type="http://schemas.openxmlformats.org/officeDocument/2006/relationships/image" Target="../media/image1.emf"/><Relationship Id="rId5" Type="http://schemas.openxmlformats.org/officeDocument/2006/relationships/tags" Target="../tags/tag243.xml"/><Relationship Id="rId10" Type="http://schemas.openxmlformats.org/officeDocument/2006/relationships/oleObject" Target="../embeddings/oleObject32.bin"/><Relationship Id="rId4" Type="http://schemas.openxmlformats.org/officeDocument/2006/relationships/tags" Target="../tags/tag242.xml"/><Relationship Id="rId9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2" Type="http://schemas.openxmlformats.org/officeDocument/2006/relationships/tags" Target="../tags/tag248.xml"/><Relationship Id="rId1" Type="http://schemas.openxmlformats.org/officeDocument/2006/relationships/tags" Target="../tags/tag247.xml"/><Relationship Id="rId6" Type="http://schemas.openxmlformats.org/officeDocument/2006/relationships/tags" Target="../tags/tag252.xml"/><Relationship Id="rId11" Type="http://schemas.openxmlformats.org/officeDocument/2006/relationships/image" Target="../media/image1.emf"/><Relationship Id="rId5" Type="http://schemas.openxmlformats.org/officeDocument/2006/relationships/tags" Target="../tags/tag251.xml"/><Relationship Id="rId10" Type="http://schemas.openxmlformats.org/officeDocument/2006/relationships/oleObject" Target="../embeddings/oleObject33.bin"/><Relationship Id="rId4" Type="http://schemas.openxmlformats.org/officeDocument/2006/relationships/tags" Target="../tags/tag250.xml"/><Relationship Id="rId9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3" Type="http://schemas.openxmlformats.org/officeDocument/2006/relationships/tags" Target="../tags/tag257.xml"/><Relationship Id="rId7" Type="http://schemas.openxmlformats.org/officeDocument/2006/relationships/tags" Target="../tags/tag261.xml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tags" Target="../tags/tag260.xml"/><Relationship Id="rId11" Type="http://schemas.openxmlformats.org/officeDocument/2006/relationships/image" Target="../media/image6.emf"/><Relationship Id="rId5" Type="http://schemas.openxmlformats.org/officeDocument/2006/relationships/tags" Target="../tags/tag259.xml"/><Relationship Id="rId10" Type="http://schemas.openxmlformats.org/officeDocument/2006/relationships/oleObject" Target="../embeddings/oleObject34.bin"/><Relationship Id="rId4" Type="http://schemas.openxmlformats.org/officeDocument/2006/relationships/tags" Target="../tags/tag258.xml"/><Relationship Id="rId9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70.xml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2" Type="http://schemas.openxmlformats.org/officeDocument/2006/relationships/tags" Target="../tags/tag264.xml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11" Type="http://schemas.openxmlformats.org/officeDocument/2006/relationships/image" Target="../media/image1.emf"/><Relationship Id="rId5" Type="http://schemas.openxmlformats.org/officeDocument/2006/relationships/tags" Target="../tags/tag267.xml"/><Relationship Id="rId10" Type="http://schemas.openxmlformats.org/officeDocument/2006/relationships/oleObject" Target="../embeddings/oleObject35.bin"/><Relationship Id="rId4" Type="http://schemas.openxmlformats.org/officeDocument/2006/relationships/tags" Target="../tags/tag266.xml"/><Relationship Id="rId9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78.xml"/><Relationship Id="rId3" Type="http://schemas.openxmlformats.org/officeDocument/2006/relationships/tags" Target="../tags/tag273.xml"/><Relationship Id="rId7" Type="http://schemas.openxmlformats.org/officeDocument/2006/relationships/tags" Target="../tags/tag277.xml"/><Relationship Id="rId2" Type="http://schemas.openxmlformats.org/officeDocument/2006/relationships/tags" Target="../tags/tag272.xml"/><Relationship Id="rId1" Type="http://schemas.openxmlformats.org/officeDocument/2006/relationships/tags" Target="../tags/tag271.xml"/><Relationship Id="rId6" Type="http://schemas.openxmlformats.org/officeDocument/2006/relationships/tags" Target="../tags/tag276.xml"/><Relationship Id="rId11" Type="http://schemas.openxmlformats.org/officeDocument/2006/relationships/image" Target="../media/image1.emf"/><Relationship Id="rId5" Type="http://schemas.openxmlformats.org/officeDocument/2006/relationships/tags" Target="../tags/tag275.xml"/><Relationship Id="rId10" Type="http://schemas.openxmlformats.org/officeDocument/2006/relationships/oleObject" Target="../embeddings/oleObject36.bin"/><Relationship Id="rId4" Type="http://schemas.openxmlformats.org/officeDocument/2006/relationships/tags" Target="../tags/tag274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86.xml"/><Relationship Id="rId3" Type="http://schemas.openxmlformats.org/officeDocument/2006/relationships/tags" Target="../tags/tag281.xml"/><Relationship Id="rId7" Type="http://schemas.openxmlformats.org/officeDocument/2006/relationships/tags" Target="../tags/tag285.xml"/><Relationship Id="rId2" Type="http://schemas.openxmlformats.org/officeDocument/2006/relationships/tags" Target="../tags/tag280.xml"/><Relationship Id="rId1" Type="http://schemas.openxmlformats.org/officeDocument/2006/relationships/tags" Target="../tags/tag279.xml"/><Relationship Id="rId6" Type="http://schemas.openxmlformats.org/officeDocument/2006/relationships/tags" Target="../tags/tag284.xml"/><Relationship Id="rId11" Type="http://schemas.openxmlformats.org/officeDocument/2006/relationships/image" Target="../media/image1.emf"/><Relationship Id="rId5" Type="http://schemas.openxmlformats.org/officeDocument/2006/relationships/tags" Target="../tags/tag283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282.xml"/><Relationship Id="rId9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294.xml"/><Relationship Id="rId3" Type="http://schemas.openxmlformats.org/officeDocument/2006/relationships/tags" Target="../tags/tag289.xml"/><Relationship Id="rId7" Type="http://schemas.openxmlformats.org/officeDocument/2006/relationships/tags" Target="../tags/tag293.xml"/><Relationship Id="rId2" Type="http://schemas.openxmlformats.org/officeDocument/2006/relationships/tags" Target="../tags/tag288.xml"/><Relationship Id="rId1" Type="http://schemas.openxmlformats.org/officeDocument/2006/relationships/tags" Target="../tags/tag287.xml"/><Relationship Id="rId6" Type="http://schemas.openxmlformats.org/officeDocument/2006/relationships/tags" Target="../tags/tag292.xml"/><Relationship Id="rId11" Type="http://schemas.openxmlformats.org/officeDocument/2006/relationships/image" Target="../media/image1.emf"/><Relationship Id="rId5" Type="http://schemas.openxmlformats.org/officeDocument/2006/relationships/tags" Target="../tags/tag291.xml"/><Relationship Id="rId10" Type="http://schemas.openxmlformats.org/officeDocument/2006/relationships/oleObject" Target="../embeddings/oleObject38.bin"/><Relationship Id="rId4" Type="http://schemas.openxmlformats.org/officeDocument/2006/relationships/tags" Target="../tags/tag290.xml"/><Relationship Id="rId9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02.xml"/><Relationship Id="rId3" Type="http://schemas.openxmlformats.org/officeDocument/2006/relationships/tags" Target="../tags/tag297.xml"/><Relationship Id="rId7" Type="http://schemas.openxmlformats.org/officeDocument/2006/relationships/tags" Target="../tags/tag301.xml"/><Relationship Id="rId2" Type="http://schemas.openxmlformats.org/officeDocument/2006/relationships/tags" Target="../tags/tag296.xml"/><Relationship Id="rId1" Type="http://schemas.openxmlformats.org/officeDocument/2006/relationships/tags" Target="../tags/tag295.xml"/><Relationship Id="rId6" Type="http://schemas.openxmlformats.org/officeDocument/2006/relationships/tags" Target="../tags/tag300.xml"/><Relationship Id="rId11" Type="http://schemas.openxmlformats.org/officeDocument/2006/relationships/image" Target="../media/image1.emf"/><Relationship Id="rId5" Type="http://schemas.openxmlformats.org/officeDocument/2006/relationships/tags" Target="../tags/tag299.xml"/><Relationship Id="rId10" Type="http://schemas.openxmlformats.org/officeDocument/2006/relationships/oleObject" Target="../embeddings/oleObject39.bin"/><Relationship Id="rId4" Type="http://schemas.openxmlformats.org/officeDocument/2006/relationships/tags" Target="../tags/tag298.xml"/><Relationship Id="rId9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10.xml"/><Relationship Id="rId3" Type="http://schemas.openxmlformats.org/officeDocument/2006/relationships/tags" Target="../tags/tag305.xml"/><Relationship Id="rId7" Type="http://schemas.openxmlformats.org/officeDocument/2006/relationships/tags" Target="../tags/tag309.xml"/><Relationship Id="rId2" Type="http://schemas.openxmlformats.org/officeDocument/2006/relationships/tags" Target="../tags/tag304.xml"/><Relationship Id="rId1" Type="http://schemas.openxmlformats.org/officeDocument/2006/relationships/tags" Target="../tags/tag303.xml"/><Relationship Id="rId6" Type="http://schemas.openxmlformats.org/officeDocument/2006/relationships/tags" Target="../tags/tag308.xml"/><Relationship Id="rId11" Type="http://schemas.openxmlformats.org/officeDocument/2006/relationships/image" Target="../media/image6.emf"/><Relationship Id="rId5" Type="http://schemas.openxmlformats.org/officeDocument/2006/relationships/tags" Target="../tags/tag307.xml"/><Relationship Id="rId10" Type="http://schemas.openxmlformats.org/officeDocument/2006/relationships/oleObject" Target="../embeddings/oleObject40.bin"/><Relationship Id="rId4" Type="http://schemas.openxmlformats.org/officeDocument/2006/relationships/tags" Target="../tags/tag306.xml"/><Relationship Id="rId9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image" Target="../media/image1.emf"/><Relationship Id="rId5" Type="http://schemas.openxmlformats.org/officeDocument/2006/relationships/tags" Target="../tags/tag45.xml"/><Relationship Id="rId10" Type="http://schemas.openxmlformats.org/officeDocument/2006/relationships/oleObject" Target="../embeddings/oleObject5.bin"/><Relationship Id="rId4" Type="http://schemas.openxmlformats.org/officeDocument/2006/relationships/tags" Target="../tags/tag44.xml"/><Relationship Id="rId9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tags" Target="../tags/tag318.xml"/><Relationship Id="rId3" Type="http://schemas.openxmlformats.org/officeDocument/2006/relationships/tags" Target="../tags/tag313.xml"/><Relationship Id="rId7" Type="http://schemas.openxmlformats.org/officeDocument/2006/relationships/tags" Target="../tags/tag317.xml"/><Relationship Id="rId2" Type="http://schemas.openxmlformats.org/officeDocument/2006/relationships/tags" Target="../tags/tag312.xml"/><Relationship Id="rId1" Type="http://schemas.openxmlformats.org/officeDocument/2006/relationships/tags" Target="../tags/tag311.xml"/><Relationship Id="rId6" Type="http://schemas.openxmlformats.org/officeDocument/2006/relationships/tags" Target="../tags/tag316.xml"/><Relationship Id="rId11" Type="http://schemas.openxmlformats.org/officeDocument/2006/relationships/image" Target="../media/image1.emf"/><Relationship Id="rId5" Type="http://schemas.openxmlformats.org/officeDocument/2006/relationships/tags" Target="../tags/tag315.xml"/><Relationship Id="rId10" Type="http://schemas.openxmlformats.org/officeDocument/2006/relationships/oleObject" Target="../embeddings/oleObject41.bin"/><Relationship Id="rId4" Type="http://schemas.openxmlformats.org/officeDocument/2006/relationships/tags" Target="../tags/tag314.xml"/><Relationship Id="rId9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26.xml"/><Relationship Id="rId3" Type="http://schemas.openxmlformats.org/officeDocument/2006/relationships/tags" Target="../tags/tag321.xml"/><Relationship Id="rId7" Type="http://schemas.openxmlformats.org/officeDocument/2006/relationships/tags" Target="../tags/tag325.xml"/><Relationship Id="rId2" Type="http://schemas.openxmlformats.org/officeDocument/2006/relationships/tags" Target="../tags/tag320.xml"/><Relationship Id="rId1" Type="http://schemas.openxmlformats.org/officeDocument/2006/relationships/tags" Target="../tags/tag319.xml"/><Relationship Id="rId6" Type="http://schemas.openxmlformats.org/officeDocument/2006/relationships/tags" Target="../tags/tag324.xml"/><Relationship Id="rId11" Type="http://schemas.openxmlformats.org/officeDocument/2006/relationships/image" Target="../media/image1.emf"/><Relationship Id="rId5" Type="http://schemas.openxmlformats.org/officeDocument/2006/relationships/tags" Target="../tags/tag323.xml"/><Relationship Id="rId10" Type="http://schemas.openxmlformats.org/officeDocument/2006/relationships/oleObject" Target="../embeddings/oleObject42.bin"/><Relationship Id="rId4" Type="http://schemas.openxmlformats.org/officeDocument/2006/relationships/tags" Target="../tags/tag322.xml"/><Relationship Id="rId9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29.xml"/><Relationship Id="rId7" Type="http://schemas.openxmlformats.org/officeDocument/2006/relationships/oleObject" Target="../embeddings/oleObject43.bin"/><Relationship Id="rId2" Type="http://schemas.openxmlformats.org/officeDocument/2006/relationships/tags" Target="../tags/tag328.xml"/><Relationship Id="rId1" Type="http://schemas.openxmlformats.org/officeDocument/2006/relationships/tags" Target="../tags/tag327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31.xml"/><Relationship Id="rId4" Type="http://schemas.openxmlformats.org/officeDocument/2006/relationships/tags" Target="../tags/tag330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39.xml"/><Relationship Id="rId3" Type="http://schemas.openxmlformats.org/officeDocument/2006/relationships/tags" Target="../tags/tag334.xml"/><Relationship Id="rId7" Type="http://schemas.openxmlformats.org/officeDocument/2006/relationships/tags" Target="../tags/tag338.xml"/><Relationship Id="rId2" Type="http://schemas.openxmlformats.org/officeDocument/2006/relationships/tags" Target="../tags/tag333.xml"/><Relationship Id="rId1" Type="http://schemas.openxmlformats.org/officeDocument/2006/relationships/tags" Target="../tags/tag332.xml"/><Relationship Id="rId6" Type="http://schemas.openxmlformats.org/officeDocument/2006/relationships/tags" Target="../tags/tag337.xml"/><Relationship Id="rId11" Type="http://schemas.openxmlformats.org/officeDocument/2006/relationships/image" Target="../media/image1.emf"/><Relationship Id="rId5" Type="http://schemas.openxmlformats.org/officeDocument/2006/relationships/tags" Target="../tags/tag336.xml"/><Relationship Id="rId10" Type="http://schemas.openxmlformats.org/officeDocument/2006/relationships/oleObject" Target="../embeddings/oleObject44.bin"/><Relationship Id="rId4" Type="http://schemas.openxmlformats.org/officeDocument/2006/relationships/tags" Target="../tags/tag335.xml"/><Relationship Id="rId9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47.xml"/><Relationship Id="rId3" Type="http://schemas.openxmlformats.org/officeDocument/2006/relationships/tags" Target="../tags/tag342.xml"/><Relationship Id="rId7" Type="http://schemas.openxmlformats.org/officeDocument/2006/relationships/tags" Target="../tags/tag346.xml"/><Relationship Id="rId2" Type="http://schemas.openxmlformats.org/officeDocument/2006/relationships/tags" Target="../tags/tag341.xml"/><Relationship Id="rId1" Type="http://schemas.openxmlformats.org/officeDocument/2006/relationships/tags" Target="../tags/tag340.xml"/><Relationship Id="rId6" Type="http://schemas.openxmlformats.org/officeDocument/2006/relationships/tags" Target="../tags/tag345.xml"/><Relationship Id="rId11" Type="http://schemas.openxmlformats.org/officeDocument/2006/relationships/image" Target="../media/image1.emf"/><Relationship Id="rId5" Type="http://schemas.openxmlformats.org/officeDocument/2006/relationships/tags" Target="../tags/tag344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343.xml"/><Relationship Id="rId9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355.xml"/><Relationship Id="rId3" Type="http://schemas.openxmlformats.org/officeDocument/2006/relationships/tags" Target="../tags/tag350.xml"/><Relationship Id="rId7" Type="http://schemas.openxmlformats.org/officeDocument/2006/relationships/tags" Target="../tags/tag354.xml"/><Relationship Id="rId2" Type="http://schemas.openxmlformats.org/officeDocument/2006/relationships/tags" Target="../tags/tag349.xml"/><Relationship Id="rId1" Type="http://schemas.openxmlformats.org/officeDocument/2006/relationships/tags" Target="../tags/tag348.xml"/><Relationship Id="rId6" Type="http://schemas.openxmlformats.org/officeDocument/2006/relationships/tags" Target="../tags/tag353.xml"/><Relationship Id="rId11" Type="http://schemas.openxmlformats.org/officeDocument/2006/relationships/image" Target="../media/image1.emf"/><Relationship Id="rId5" Type="http://schemas.openxmlformats.org/officeDocument/2006/relationships/tags" Target="../tags/tag352.xml"/><Relationship Id="rId10" Type="http://schemas.openxmlformats.org/officeDocument/2006/relationships/oleObject" Target="../embeddings/oleObject46.bin"/><Relationship Id="rId4" Type="http://schemas.openxmlformats.org/officeDocument/2006/relationships/tags" Target="../tags/tag351.xml"/><Relationship Id="rId9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358.xml"/><Relationship Id="rId7" Type="http://schemas.openxmlformats.org/officeDocument/2006/relationships/image" Target="../media/image7.emf"/><Relationship Id="rId2" Type="http://schemas.openxmlformats.org/officeDocument/2006/relationships/tags" Target="../tags/tag357.xml"/><Relationship Id="rId1" Type="http://schemas.openxmlformats.org/officeDocument/2006/relationships/tags" Target="../tags/tag356.x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59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362.xml"/><Relationship Id="rId7" Type="http://schemas.openxmlformats.org/officeDocument/2006/relationships/image" Target="../media/image7.emf"/><Relationship Id="rId2" Type="http://schemas.openxmlformats.org/officeDocument/2006/relationships/tags" Target="../tags/tag361.xml"/><Relationship Id="rId1" Type="http://schemas.openxmlformats.org/officeDocument/2006/relationships/tags" Target="../tags/tag360.x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6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366.xml"/><Relationship Id="rId7" Type="http://schemas.openxmlformats.org/officeDocument/2006/relationships/image" Target="../media/image7.emf"/><Relationship Id="rId2" Type="http://schemas.openxmlformats.org/officeDocument/2006/relationships/tags" Target="../tags/tag365.xml"/><Relationship Id="rId1" Type="http://schemas.openxmlformats.org/officeDocument/2006/relationships/tags" Target="../tags/tag364.x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67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70.xml"/><Relationship Id="rId7" Type="http://schemas.openxmlformats.org/officeDocument/2006/relationships/oleObject" Target="../embeddings/oleObject50.bin"/><Relationship Id="rId2" Type="http://schemas.openxmlformats.org/officeDocument/2006/relationships/tags" Target="../tags/tag369.xml"/><Relationship Id="rId1" Type="http://schemas.openxmlformats.org/officeDocument/2006/relationships/tags" Target="../tags/tag368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72.xml"/><Relationship Id="rId4" Type="http://schemas.openxmlformats.org/officeDocument/2006/relationships/tags" Target="../tags/tag37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tags" Target="../tags/tag51.xml"/><Relationship Id="rId7" Type="http://schemas.openxmlformats.org/officeDocument/2006/relationships/tags" Target="../tags/tag55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6" Type="http://schemas.openxmlformats.org/officeDocument/2006/relationships/tags" Target="../tags/tag54.xml"/><Relationship Id="rId11" Type="http://schemas.openxmlformats.org/officeDocument/2006/relationships/image" Target="../media/image1.emf"/><Relationship Id="rId5" Type="http://schemas.openxmlformats.org/officeDocument/2006/relationships/tags" Target="../tags/tag53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2.xml"/><Relationship Id="rId9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375.xml"/><Relationship Id="rId7" Type="http://schemas.openxmlformats.org/officeDocument/2006/relationships/image" Target="../media/image2.emf"/><Relationship Id="rId2" Type="http://schemas.openxmlformats.org/officeDocument/2006/relationships/tags" Target="../tags/tag374.xml"/><Relationship Id="rId1" Type="http://schemas.openxmlformats.org/officeDocument/2006/relationships/tags" Target="../tags/tag373.xml"/><Relationship Id="rId6" Type="http://schemas.openxmlformats.org/officeDocument/2006/relationships/oleObject" Target="../embeddings/oleObject5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7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379.xml"/><Relationship Id="rId7" Type="http://schemas.openxmlformats.org/officeDocument/2006/relationships/image" Target="../media/image2.emf"/><Relationship Id="rId2" Type="http://schemas.openxmlformats.org/officeDocument/2006/relationships/tags" Target="../tags/tag378.xml"/><Relationship Id="rId1" Type="http://schemas.openxmlformats.org/officeDocument/2006/relationships/tags" Target="../tags/tag377.x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80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405.xml"/><Relationship Id="rId7" Type="http://schemas.openxmlformats.org/officeDocument/2006/relationships/oleObject" Target="../embeddings/oleObject54.bin"/><Relationship Id="rId2" Type="http://schemas.openxmlformats.org/officeDocument/2006/relationships/tags" Target="../tags/tag404.xml"/><Relationship Id="rId1" Type="http://schemas.openxmlformats.org/officeDocument/2006/relationships/tags" Target="../tags/tag403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07.xml"/><Relationship Id="rId4" Type="http://schemas.openxmlformats.org/officeDocument/2006/relationships/tags" Target="../tags/tag406.xml"/><Relationship Id="rId9" Type="http://schemas.openxmlformats.org/officeDocument/2006/relationships/image" Target="../media/image3.png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5.bin"/><Relationship Id="rId3" Type="http://schemas.openxmlformats.org/officeDocument/2006/relationships/tags" Target="../tags/tag410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09.xml"/><Relationship Id="rId1" Type="http://schemas.openxmlformats.org/officeDocument/2006/relationships/tags" Target="../tags/tag408.xml"/><Relationship Id="rId6" Type="http://schemas.openxmlformats.org/officeDocument/2006/relationships/tags" Target="../tags/tag413.xml"/><Relationship Id="rId11" Type="http://schemas.openxmlformats.org/officeDocument/2006/relationships/image" Target="../media/image5.png"/><Relationship Id="rId5" Type="http://schemas.openxmlformats.org/officeDocument/2006/relationships/tags" Target="../tags/tag412.xml"/><Relationship Id="rId10" Type="http://schemas.openxmlformats.org/officeDocument/2006/relationships/image" Target="../media/image4.jpeg"/><Relationship Id="rId4" Type="http://schemas.openxmlformats.org/officeDocument/2006/relationships/tags" Target="../tags/tag411.xml"/><Relationship Id="rId9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416.xml"/><Relationship Id="rId7" Type="http://schemas.openxmlformats.org/officeDocument/2006/relationships/image" Target="../media/image2.emf"/><Relationship Id="rId2" Type="http://schemas.openxmlformats.org/officeDocument/2006/relationships/tags" Target="../tags/tag415.xml"/><Relationship Id="rId1" Type="http://schemas.openxmlformats.org/officeDocument/2006/relationships/tags" Target="../tags/tag414.xml"/><Relationship Id="rId6" Type="http://schemas.openxmlformats.org/officeDocument/2006/relationships/oleObject" Target="../embeddings/oleObject56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17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20.xml"/><Relationship Id="rId7" Type="http://schemas.openxmlformats.org/officeDocument/2006/relationships/tags" Target="../tags/tag424.xml"/><Relationship Id="rId2" Type="http://schemas.openxmlformats.org/officeDocument/2006/relationships/tags" Target="../tags/tag419.xml"/><Relationship Id="rId1" Type="http://schemas.openxmlformats.org/officeDocument/2006/relationships/tags" Target="../tags/tag418.xml"/><Relationship Id="rId6" Type="http://schemas.openxmlformats.org/officeDocument/2006/relationships/tags" Target="../tags/tag423.xml"/><Relationship Id="rId5" Type="http://schemas.openxmlformats.org/officeDocument/2006/relationships/tags" Target="../tags/tag422.xml"/><Relationship Id="rId10" Type="http://schemas.openxmlformats.org/officeDocument/2006/relationships/image" Target="../media/image1.emf"/><Relationship Id="rId4" Type="http://schemas.openxmlformats.org/officeDocument/2006/relationships/tags" Target="../tags/tag421.xml"/><Relationship Id="rId9" Type="http://schemas.openxmlformats.org/officeDocument/2006/relationships/oleObject" Target="../embeddings/oleObject57.bin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27.xml"/><Relationship Id="rId7" Type="http://schemas.openxmlformats.org/officeDocument/2006/relationships/tags" Target="../tags/tag431.xml"/><Relationship Id="rId2" Type="http://schemas.openxmlformats.org/officeDocument/2006/relationships/tags" Target="../tags/tag426.xml"/><Relationship Id="rId1" Type="http://schemas.openxmlformats.org/officeDocument/2006/relationships/tags" Target="../tags/tag425.xml"/><Relationship Id="rId6" Type="http://schemas.openxmlformats.org/officeDocument/2006/relationships/tags" Target="../tags/tag430.xml"/><Relationship Id="rId5" Type="http://schemas.openxmlformats.org/officeDocument/2006/relationships/tags" Target="../tags/tag429.xml"/><Relationship Id="rId10" Type="http://schemas.openxmlformats.org/officeDocument/2006/relationships/image" Target="../media/image1.emf"/><Relationship Id="rId4" Type="http://schemas.openxmlformats.org/officeDocument/2006/relationships/tags" Target="../tags/tag428.xml"/><Relationship Id="rId9" Type="http://schemas.openxmlformats.org/officeDocument/2006/relationships/oleObject" Target="../embeddings/oleObject58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34.xml"/><Relationship Id="rId7" Type="http://schemas.openxmlformats.org/officeDocument/2006/relationships/tags" Target="../tags/tag438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tags" Target="../tags/tag437.xml"/><Relationship Id="rId5" Type="http://schemas.openxmlformats.org/officeDocument/2006/relationships/tags" Target="../tags/tag436.xml"/><Relationship Id="rId10" Type="http://schemas.openxmlformats.org/officeDocument/2006/relationships/image" Target="../media/image1.emf"/><Relationship Id="rId4" Type="http://schemas.openxmlformats.org/officeDocument/2006/relationships/tags" Target="../tags/tag435.xml"/><Relationship Id="rId9" Type="http://schemas.openxmlformats.org/officeDocument/2006/relationships/oleObject" Target="../embeddings/oleObject59.bin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441.xml"/><Relationship Id="rId7" Type="http://schemas.openxmlformats.org/officeDocument/2006/relationships/tags" Target="../tags/tag445.xml"/><Relationship Id="rId2" Type="http://schemas.openxmlformats.org/officeDocument/2006/relationships/tags" Target="../tags/tag440.xml"/><Relationship Id="rId1" Type="http://schemas.openxmlformats.org/officeDocument/2006/relationships/tags" Target="../tags/tag439.xml"/><Relationship Id="rId6" Type="http://schemas.openxmlformats.org/officeDocument/2006/relationships/tags" Target="../tags/tag444.xml"/><Relationship Id="rId5" Type="http://schemas.openxmlformats.org/officeDocument/2006/relationships/tags" Target="../tags/tag443.xml"/><Relationship Id="rId10" Type="http://schemas.openxmlformats.org/officeDocument/2006/relationships/image" Target="../media/image6.emf"/><Relationship Id="rId4" Type="http://schemas.openxmlformats.org/officeDocument/2006/relationships/tags" Target="../tags/tag442.xml"/><Relationship Id="rId9" Type="http://schemas.openxmlformats.org/officeDocument/2006/relationships/oleObject" Target="../embeddings/oleObject60.bin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453.xml"/><Relationship Id="rId3" Type="http://schemas.openxmlformats.org/officeDocument/2006/relationships/tags" Target="../tags/tag448.xml"/><Relationship Id="rId7" Type="http://schemas.openxmlformats.org/officeDocument/2006/relationships/tags" Target="../tags/tag452.xml"/><Relationship Id="rId2" Type="http://schemas.openxmlformats.org/officeDocument/2006/relationships/tags" Target="../tags/tag447.xml"/><Relationship Id="rId1" Type="http://schemas.openxmlformats.org/officeDocument/2006/relationships/tags" Target="../tags/tag446.xml"/><Relationship Id="rId6" Type="http://schemas.openxmlformats.org/officeDocument/2006/relationships/tags" Target="../tags/tag451.xml"/><Relationship Id="rId11" Type="http://schemas.openxmlformats.org/officeDocument/2006/relationships/image" Target="../media/image1.emf"/><Relationship Id="rId5" Type="http://schemas.openxmlformats.org/officeDocument/2006/relationships/tags" Target="../tags/tag450.xml"/><Relationship Id="rId10" Type="http://schemas.openxmlformats.org/officeDocument/2006/relationships/oleObject" Target="../embeddings/oleObject61.bin"/><Relationship Id="rId4" Type="http://schemas.openxmlformats.org/officeDocument/2006/relationships/tags" Target="../tags/tag449.xml"/><Relationship Id="rId9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image" Target="../media/image1.emf"/><Relationship Id="rId5" Type="http://schemas.openxmlformats.org/officeDocument/2006/relationships/tags" Target="../tags/tag61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0.xml"/><Relationship Id="rId9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tags" Target="../tags/tag461.xml"/><Relationship Id="rId3" Type="http://schemas.openxmlformats.org/officeDocument/2006/relationships/tags" Target="../tags/tag456.xml"/><Relationship Id="rId7" Type="http://schemas.openxmlformats.org/officeDocument/2006/relationships/tags" Target="../tags/tag460.xml"/><Relationship Id="rId2" Type="http://schemas.openxmlformats.org/officeDocument/2006/relationships/tags" Target="../tags/tag455.xml"/><Relationship Id="rId1" Type="http://schemas.openxmlformats.org/officeDocument/2006/relationships/tags" Target="../tags/tag454.xml"/><Relationship Id="rId6" Type="http://schemas.openxmlformats.org/officeDocument/2006/relationships/tags" Target="../tags/tag459.xml"/><Relationship Id="rId11" Type="http://schemas.openxmlformats.org/officeDocument/2006/relationships/image" Target="../media/image1.emf"/><Relationship Id="rId5" Type="http://schemas.openxmlformats.org/officeDocument/2006/relationships/tags" Target="../tags/tag458.xml"/><Relationship Id="rId10" Type="http://schemas.openxmlformats.org/officeDocument/2006/relationships/oleObject" Target="../embeddings/oleObject62.bin"/><Relationship Id="rId4" Type="http://schemas.openxmlformats.org/officeDocument/2006/relationships/tags" Target="../tags/tag457.xml"/><Relationship Id="rId9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469.xml"/><Relationship Id="rId3" Type="http://schemas.openxmlformats.org/officeDocument/2006/relationships/tags" Target="../tags/tag464.xml"/><Relationship Id="rId7" Type="http://schemas.openxmlformats.org/officeDocument/2006/relationships/tags" Target="../tags/tag468.xml"/><Relationship Id="rId2" Type="http://schemas.openxmlformats.org/officeDocument/2006/relationships/tags" Target="../tags/tag463.xml"/><Relationship Id="rId1" Type="http://schemas.openxmlformats.org/officeDocument/2006/relationships/tags" Target="../tags/tag462.xml"/><Relationship Id="rId6" Type="http://schemas.openxmlformats.org/officeDocument/2006/relationships/tags" Target="../tags/tag467.xml"/><Relationship Id="rId11" Type="http://schemas.openxmlformats.org/officeDocument/2006/relationships/image" Target="../media/image1.emf"/><Relationship Id="rId5" Type="http://schemas.openxmlformats.org/officeDocument/2006/relationships/tags" Target="../tags/tag466.xml"/><Relationship Id="rId10" Type="http://schemas.openxmlformats.org/officeDocument/2006/relationships/oleObject" Target="../embeddings/oleObject63.bin"/><Relationship Id="rId4" Type="http://schemas.openxmlformats.org/officeDocument/2006/relationships/tags" Target="../tags/tag465.xml"/><Relationship Id="rId9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477.xml"/><Relationship Id="rId3" Type="http://schemas.openxmlformats.org/officeDocument/2006/relationships/tags" Target="../tags/tag472.xml"/><Relationship Id="rId7" Type="http://schemas.openxmlformats.org/officeDocument/2006/relationships/tags" Target="../tags/tag476.xml"/><Relationship Id="rId2" Type="http://schemas.openxmlformats.org/officeDocument/2006/relationships/tags" Target="../tags/tag471.xml"/><Relationship Id="rId1" Type="http://schemas.openxmlformats.org/officeDocument/2006/relationships/tags" Target="../tags/tag470.xml"/><Relationship Id="rId6" Type="http://schemas.openxmlformats.org/officeDocument/2006/relationships/tags" Target="../tags/tag475.xml"/><Relationship Id="rId11" Type="http://schemas.openxmlformats.org/officeDocument/2006/relationships/image" Target="../media/image1.emf"/><Relationship Id="rId5" Type="http://schemas.openxmlformats.org/officeDocument/2006/relationships/tags" Target="../tags/tag474.xml"/><Relationship Id="rId10" Type="http://schemas.openxmlformats.org/officeDocument/2006/relationships/oleObject" Target="../embeddings/oleObject64.bin"/><Relationship Id="rId4" Type="http://schemas.openxmlformats.org/officeDocument/2006/relationships/tags" Target="../tags/tag473.xml"/><Relationship Id="rId9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485.xml"/><Relationship Id="rId3" Type="http://schemas.openxmlformats.org/officeDocument/2006/relationships/tags" Target="../tags/tag480.xml"/><Relationship Id="rId7" Type="http://schemas.openxmlformats.org/officeDocument/2006/relationships/tags" Target="../tags/tag484.xml"/><Relationship Id="rId2" Type="http://schemas.openxmlformats.org/officeDocument/2006/relationships/tags" Target="../tags/tag479.xml"/><Relationship Id="rId1" Type="http://schemas.openxmlformats.org/officeDocument/2006/relationships/tags" Target="../tags/tag478.xml"/><Relationship Id="rId6" Type="http://schemas.openxmlformats.org/officeDocument/2006/relationships/tags" Target="../tags/tag483.xml"/><Relationship Id="rId11" Type="http://schemas.openxmlformats.org/officeDocument/2006/relationships/image" Target="../media/image1.emf"/><Relationship Id="rId5" Type="http://schemas.openxmlformats.org/officeDocument/2006/relationships/tags" Target="../tags/tag482.xml"/><Relationship Id="rId10" Type="http://schemas.openxmlformats.org/officeDocument/2006/relationships/oleObject" Target="../embeddings/oleObject65.bin"/><Relationship Id="rId4" Type="http://schemas.openxmlformats.org/officeDocument/2006/relationships/tags" Target="../tags/tag481.xml"/><Relationship Id="rId9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493.xml"/><Relationship Id="rId3" Type="http://schemas.openxmlformats.org/officeDocument/2006/relationships/tags" Target="../tags/tag488.xml"/><Relationship Id="rId7" Type="http://schemas.openxmlformats.org/officeDocument/2006/relationships/tags" Target="../tags/tag492.xml"/><Relationship Id="rId2" Type="http://schemas.openxmlformats.org/officeDocument/2006/relationships/tags" Target="../tags/tag487.xml"/><Relationship Id="rId1" Type="http://schemas.openxmlformats.org/officeDocument/2006/relationships/tags" Target="../tags/tag486.xml"/><Relationship Id="rId6" Type="http://schemas.openxmlformats.org/officeDocument/2006/relationships/tags" Target="../tags/tag491.xml"/><Relationship Id="rId11" Type="http://schemas.openxmlformats.org/officeDocument/2006/relationships/image" Target="../media/image6.emf"/><Relationship Id="rId5" Type="http://schemas.openxmlformats.org/officeDocument/2006/relationships/tags" Target="../tags/tag490.xml"/><Relationship Id="rId10" Type="http://schemas.openxmlformats.org/officeDocument/2006/relationships/oleObject" Target="../embeddings/oleObject66.bin"/><Relationship Id="rId4" Type="http://schemas.openxmlformats.org/officeDocument/2006/relationships/tags" Target="../tags/tag489.xml"/><Relationship Id="rId9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501.xml"/><Relationship Id="rId3" Type="http://schemas.openxmlformats.org/officeDocument/2006/relationships/tags" Target="../tags/tag496.xml"/><Relationship Id="rId7" Type="http://schemas.openxmlformats.org/officeDocument/2006/relationships/tags" Target="../tags/tag500.xml"/><Relationship Id="rId2" Type="http://schemas.openxmlformats.org/officeDocument/2006/relationships/tags" Target="../tags/tag495.xml"/><Relationship Id="rId1" Type="http://schemas.openxmlformats.org/officeDocument/2006/relationships/tags" Target="../tags/tag494.xml"/><Relationship Id="rId6" Type="http://schemas.openxmlformats.org/officeDocument/2006/relationships/tags" Target="../tags/tag499.xml"/><Relationship Id="rId11" Type="http://schemas.openxmlformats.org/officeDocument/2006/relationships/image" Target="../media/image1.emf"/><Relationship Id="rId5" Type="http://schemas.openxmlformats.org/officeDocument/2006/relationships/tags" Target="../tags/tag498.xml"/><Relationship Id="rId10" Type="http://schemas.openxmlformats.org/officeDocument/2006/relationships/oleObject" Target="../embeddings/oleObject67.bin"/><Relationship Id="rId4" Type="http://schemas.openxmlformats.org/officeDocument/2006/relationships/tags" Target="../tags/tag497.xml"/><Relationship Id="rId9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509.xml"/><Relationship Id="rId3" Type="http://schemas.openxmlformats.org/officeDocument/2006/relationships/tags" Target="../tags/tag504.xml"/><Relationship Id="rId7" Type="http://schemas.openxmlformats.org/officeDocument/2006/relationships/tags" Target="../tags/tag508.xml"/><Relationship Id="rId2" Type="http://schemas.openxmlformats.org/officeDocument/2006/relationships/tags" Target="../tags/tag503.xml"/><Relationship Id="rId1" Type="http://schemas.openxmlformats.org/officeDocument/2006/relationships/tags" Target="../tags/tag502.xml"/><Relationship Id="rId6" Type="http://schemas.openxmlformats.org/officeDocument/2006/relationships/tags" Target="../tags/tag507.xml"/><Relationship Id="rId11" Type="http://schemas.openxmlformats.org/officeDocument/2006/relationships/image" Target="../media/image1.emf"/><Relationship Id="rId5" Type="http://schemas.openxmlformats.org/officeDocument/2006/relationships/tags" Target="../tags/tag506.xml"/><Relationship Id="rId10" Type="http://schemas.openxmlformats.org/officeDocument/2006/relationships/oleObject" Target="../embeddings/oleObject68.bin"/><Relationship Id="rId4" Type="http://schemas.openxmlformats.org/officeDocument/2006/relationships/tags" Target="../tags/tag505.xml"/><Relationship Id="rId9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512.xml"/><Relationship Id="rId7" Type="http://schemas.openxmlformats.org/officeDocument/2006/relationships/image" Target="../media/image2.emf"/><Relationship Id="rId2" Type="http://schemas.openxmlformats.org/officeDocument/2006/relationships/tags" Target="../tags/tag511.xml"/><Relationship Id="rId1" Type="http://schemas.openxmlformats.org/officeDocument/2006/relationships/tags" Target="../tags/tag510.xml"/><Relationship Id="rId6" Type="http://schemas.openxmlformats.org/officeDocument/2006/relationships/oleObject" Target="../embeddings/oleObject69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13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521.xml"/><Relationship Id="rId3" Type="http://schemas.openxmlformats.org/officeDocument/2006/relationships/tags" Target="../tags/tag516.xml"/><Relationship Id="rId7" Type="http://schemas.openxmlformats.org/officeDocument/2006/relationships/tags" Target="../tags/tag520.xml"/><Relationship Id="rId2" Type="http://schemas.openxmlformats.org/officeDocument/2006/relationships/tags" Target="../tags/tag515.xml"/><Relationship Id="rId1" Type="http://schemas.openxmlformats.org/officeDocument/2006/relationships/tags" Target="../tags/tag514.xml"/><Relationship Id="rId6" Type="http://schemas.openxmlformats.org/officeDocument/2006/relationships/tags" Target="../tags/tag519.xml"/><Relationship Id="rId11" Type="http://schemas.openxmlformats.org/officeDocument/2006/relationships/image" Target="../media/image1.emf"/><Relationship Id="rId5" Type="http://schemas.openxmlformats.org/officeDocument/2006/relationships/tags" Target="../tags/tag518.xml"/><Relationship Id="rId10" Type="http://schemas.openxmlformats.org/officeDocument/2006/relationships/oleObject" Target="../embeddings/oleObject70.bin"/><Relationship Id="rId4" Type="http://schemas.openxmlformats.org/officeDocument/2006/relationships/tags" Target="../tags/tag517.xml"/><Relationship Id="rId9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tags" Target="../tags/tag529.xml"/><Relationship Id="rId3" Type="http://schemas.openxmlformats.org/officeDocument/2006/relationships/tags" Target="../tags/tag524.xml"/><Relationship Id="rId7" Type="http://schemas.openxmlformats.org/officeDocument/2006/relationships/tags" Target="../tags/tag528.xml"/><Relationship Id="rId2" Type="http://schemas.openxmlformats.org/officeDocument/2006/relationships/tags" Target="../tags/tag523.xml"/><Relationship Id="rId1" Type="http://schemas.openxmlformats.org/officeDocument/2006/relationships/tags" Target="../tags/tag522.xml"/><Relationship Id="rId6" Type="http://schemas.openxmlformats.org/officeDocument/2006/relationships/tags" Target="../tags/tag527.xml"/><Relationship Id="rId11" Type="http://schemas.openxmlformats.org/officeDocument/2006/relationships/image" Target="../media/image1.emf"/><Relationship Id="rId5" Type="http://schemas.openxmlformats.org/officeDocument/2006/relationships/tags" Target="../tags/tag526.xml"/><Relationship Id="rId10" Type="http://schemas.openxmlformats.org/officeDocument/2006/relationships/oleObject" Target="../embeddings/oleObject71.bin"/><Relationship Id="rId4" Type="http://schemas.openxmlformats.org/officeDocument/2006/relationships/tags" Target="../tags/tag525.xml"/><Relationship Id="rId9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tags" Target="../tags/tag70.xml"/><Relationship Id="rId11" Type="http://schemas.openxmlformats.org/officeDocument/2006/relationships/image" Target="../media/image6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tags" Target="../tags/tag537.xml"/><Relationship Id="rId3" Type="http://schemas.openxmlformats.org/officeDocument/2006/relationships/tags" Target="../tags/tag532.xml"/><Relationship Id="rId7" Type="http://schemas.openxmlformats.org/officeDocument/2006/relationships/tags" Target="../tags/tag536.xml"/><Relationship Id="rId2" Type="http://schemas.openxmlformats.org/officeDocument/2006/relationships/tags" Target="../tags/tag531.xml"/><Relationship Id="rId1" Type="http://schemas.openxmlformats.org/officeDocument/2006/relationships/tags" Target="../tags/tag530.xml"/><Relationship Id="rId6" Type="http://schemas.openxmlformats.org/officeDocument/2006/relationships/tags" Target="../tags/tag535.xml"/><Relationship Id="rId11" Type="http://schemas.openxmlformats.org/officeDocument/2006/relationships/image" Target="../media/image1.emf"/><Relationship Id="rId5" Type="http://schemas.openxmlformats.org/officeDocument/2006/relationships/tags" Target="../tags/tag534.xml"/><Relationship Id="rId10" Type="http://schemas.openxmlformats.org/officeDocument/2006/relationships/oleObject" Target="../embeddings/oleObject72.bin"/><Relationship Id="rId4" Type="http://schemas.openxmlformats.org/officeDocument/2006/relationships/tags" Target="../tags/tag533.xml"/><Relationship Id="rId9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540.xml"/><Relationship Id="rId7" Type="http://schemas.openxmlformats.org/officeDocument/2006/relationships/image" Target="../media/image7.emf"/><Relationship Id="rId2" Type="http://schemas.openxmlformats.org/officeDocument/2006/relationships/tags" Target="../tags/tag539.xml"/><Relationship Id="rId1" Type="http://schemas.openxmlformats.org/officeDocument/2006/relationships/tags" Target="../tags/tag538.xml"/><Relationship Id="rId6" Type="http://schemas.openxmlformats.org/officeDocument/2006/relationships/oleObject" Target="../embeddings/oleObject73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41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544.xml"/><Relationship Id="rId7" Type="http://schemas.openxmlformats.org/officeDocument/2006/relationships/image" Target="../media/image7.emf"/><Relationship Id="rId2" Type="http://schemas.openxmlformats.org/officeDocument/2006/relationships/tags" Target="../tags/tag543.xml"/><Relationship Id="rId1" Type="http://schemas.openxmlformats.org/officeDocument/2006/relationships/tags" Target="../tags/tag542.xml"/><Relationship Id="rId6" Type="http://schemas.openxmlformats.org/officeDocument/2006/relationships/oleObject" Target="../embeddings/oleObject74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4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548.xml"/><Relationship Id="rId7" Type="http://schemas.openxmlformats.org/officeDocument/2006/relationships/image" Target="../media/image7.emf"/><Relationship Id="rId2" Type="http://schemas.openxmlformats.org/officeDocument/2006/relationships/tags" Target="../tags/tag547.xml"/><Relationship Id="rId1" Type="http://schemas.openxmlformats.org/officeDocument/2006/relationships/tags" Target="../tags/tag546.xml"/><Relationship Id="rId6" Type="http://schemas.openxmlformats.org/officeDocument/2006/relationships/oleObject" Target="../embeddings/oleObject75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549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52.xml"/><Relationship Id="rId7" Type="http://schemas.openxmlformats.org/officeDocument/2006/relationships/oleObject" Target="../embeddings/oleObject76.bin"/><Relationship Id="rId2" Type="http://schemas.openxmlformats.org/officeDocument/2006/relationships/tags" Target="../tags/tag551.xml"/><Relationship Id="rId1" Type="http://schemas.openxmlformats.org/officeDocument/2006/relationships/tags" Target="../tags/tag550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554.xml"/><Relationship Id="rId4" Type="http://schemas.openxmlformats.org/officeDocument/2006/relationships/tags" Target="../tags/tag553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tags" Target="../tags/tag78.xml"/><Relationship Id="rId11" Type="http://schemas.openxmlformats.org/officeDocument/2006/relationships/image" Target="../media/image1.emf"/><Relationship Id="rId5" Type="http://schemas.openxmlformats.org/officeDocument/2006/relationships/tags" Target="../tags/tag77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6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3" Type="http://schemas.openxmlformats.org/officeDocument/2006/relationships/tags" Target="../tags/tag83.xml"/><Relationship Id="rId7" Type="http://schemas.openxmlformats.org/officeDocument/2006/relationships/tags" Target="../tags/tag87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image" Target="../media/image1.emf"/><Relationship Id="rId5" Type="http://schemas.openxmlformats.org/officeDocument/2006/relationships/tags" Target="../tags/tag85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84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031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rgbClr val="002D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1232602" y="324131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1232602" y="281598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auto">
          <a:xfrm>
            <a:off x="1232602" y="2102142"/>
            <a:ext cx="9726795" cy="5847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3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it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16960" y="3513672"/>
            <a:ext cx="5862320" cy="1310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89217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9411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29781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C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29781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CBB4424-747B-4649-B80D-1BA64296346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F4E0CCFD-FA63-B549-AA63-6D96EAE08D9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21240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DFB41C5-2D09-DC41-BA8D-392C9E673CEC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8650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811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2678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CABE7FD-2554-1942-A788-E17CA2D650D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155AED6-02B1-8040-A57E-5A17F3C87E24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7383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01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4877562" cy="384721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4877562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0054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B6EB5DE-682C-464A-B755-ACC8C4AF9D3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58BAF92-B430-874D-8468-E4F8934024E9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2781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32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6779514" cy="384721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779514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3952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FE40FE0-1884-294F-8E5A-01B00DD7151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904E6569-A085-FE4A-A369-A7D85BEDFA6B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0882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808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656320" y="0"/>
            <a:ext cx="3535680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749540" cy="384721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749540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6123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E420C21-2DE9-A840-A53F-0EBCF71D6972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AD96815-0628-E045-8648-BCDFAB3217D7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73384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61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9194800" y="0"/>
            <a:ext cx="2997200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834425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834425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6123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6B608FA-8CD5-1043-B062-E4985C993A7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6804EE5-2900-7C49-9EFC-1DDDEBDAE112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2434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031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rgbClr val="002D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1232602" y="324131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1232602" y="281598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auto">
          <a:xfrm>
            <a:off x="1232602" y="2102142"/>
            <a:ext cx="9726795" cy="5847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3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94254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7557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3413760" cy="6858000"/>
          </a:xfrm>
          <a:prstGeom prst="rect">
            <a:avLst/>
          </a:prstGeom>
          <a:solidFill>
            <a:srgbClr val="BCA66D">
              <a:alpha val="16863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29781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C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29781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229781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CBB4424-747B-4649-B80D-1BA64296346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15AA6C5-1C45-8F42-B9F8-81197310D348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41118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811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4736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2678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CABE7FD-2554-1942-A788-E17CA2D650D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D3349D-7FA1-8249-92B6-D95E3D97D76D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3621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333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6" y="41597"/>
            <a:ext cx="370054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B6EB5DE-682C-464A-B755-ACC8C4AF9D3D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FF4FEE11-2533-344C-8360-CEAF19D9C4A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4860544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3. Subtitle">
            <a:extLst>
              <a:ext uri="{FF2B5EF4-FFF2-40B4-BE49-F238E27FC236}">
                <a16:creationId xmlns:a16="http://schemas.microsoft.com/office/drawing/2014/main" id="{1A7E102A-6AE6-A84A-AE90-FA7F9E26443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5" y="3659644"/>
            <a:ext cx="4860543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E267F3E-4EF2-B341-9F68-3E7CBEA92207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031788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5854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D6A43F-F0E0-A54E-9E5C-25453008E10F}"/>
              </a:ext>
            </a:extLst>
          </p:cNvPr>
          <p:cNvSpPr txBox="1"/>
          <p:nvPr userDrawn="1"/>
        </p:nvSpPr>
        <p:spPr>
          <a:xfrm>
            <a:off x="10851614" y="663215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auto">
          <a:xfrm>
            <a:off x="1232602" y="5827075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rgbClr val="2581C5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auto">
          <a:xfrm>
            <a:off x="1232602" y="5451816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rgbClr val="2581C5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 bwMode="auto">
          <a:xfrm>
            <a:off x="1232602" y="4751593"/>
            <a:ext cx="9726795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3600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GB"/>
              <a:t>Click to edit title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4EC6308-8CF8-E441-95D1-9174F4538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447833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FFAC552-E47E-D741-A0E5-6D1BD99CD4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79520" y="5905818"/>
            <a:ext cx="4955546" cy="105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2180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77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BE2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B02AC1A4-4570-BB42-8F9F-FF41D97CDE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92F0B8A4-B12A-B24F-8A54-245D323CDDB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52BAC75-F801-9B4A-A3B2-78A0B67E63B0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640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bg>
      <p:bgPr>
        <a:solidFill>
          <a:srgbClr val="EBE2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77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B02AC1A4-4570-BB42-8F9F-FF41D97CDE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92F0B8A4-B12A-B24F-8A54-245D323CDDB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5F16F0B-F601-B040-8E9B-AA307633D26A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984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one third">
    <p:bg>
      <p:bgPr>
        <a:solidFill>
          <a:srgbClr val="EBE2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77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0" y="0"/>
            <a:ext cx="8303172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B02AC1A4-4570-BB42-8F9F-FF41D97CDE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92F0B8A4-B12A-B24F-8A54-245D323CDDB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5C12ADD-923C-884E-914C-986A1B7A064E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647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088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58460" y="212329"/>
            <a:ext cx="10220324" cy="375937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lnSpc>
                <a:spcPct val="105000"/>
              </a:lnSpc>
              <a:defRPr sz="2500" baseline="0"/>
            </a:lvl1pPr>
          </a:lstStyle>
          <a:p>
            <a:r>
              <a:rPr lang="en-US"/>
              <a:t>Alternative </a:t>
            </a:r>
            <a:r>
              <a:rPr lang="en-US" err="1"/>
              <a:t>colour</a:t>
            </a:r>
            <a:r>
              <a:rPr lang="en-US"/>
              <a:t> Codes – in addition to theme </a:t>
            </a:r>
            <a:r>
              <a:rPr lang="en-US" err="1"/>
              <a:t>colours</a:t>
            </a:r>
            <a:endParaRPr lang="en-US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758460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DE072CE-3B00-41EC-B415-3189888D00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263F6BC-5BAE-554E-AF1F-9034D2F407BA}"/>
              </a:ext>
            </a:extLst>
          </p:cNvPr>
          <p:cNvSpPr/>
          <p:nvPr userDrawn="1"/>
        </p:nvSpPr>
        <p:spPr>
          <a:xfrm>
            <a:off x="7138252" y="2024882"/>
            <a:ext cx="1440000" cy="434567"/>
          </a:xfrm>
          <a:prstGeom prst="rect">
            <a:avLst/>
          </a:prstGeom>
          <a:solidFill>
            <a:srgbClr val="BCA66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>
                <a:solidFill>
                  <a:schemeClr val="bg1"/>
                </a:solidFill>
              </a:rPr>
              <a:t>#BBA66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EB0286A-1DF2-D046-A8F5-FA6A9ED9B713}"/>
              </a:ext>
            </a:extLst>
          </p:cNvPr>
          <p:cNvSpPr/>
          <p:nvPr userDrawn="1"/>
        </p:nvSpPr>
        <p:spPr>
          <a:xfrm>
            <a:off x="5054766" y="2024882"/>
            <a:ext cx="1440000" cy="434567"/>
          </a:xfrm>
          <a:prstGeom prst="rect">
            <a:avLst/>
          </a:prstGeom>
          <a:solidFill>
            <a:srgbClr val="008DC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0" i="0" u="none" strike="noStrike" kern="1200" baseline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#008DC9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720352-2563-3547-A6C9-86340F8EC620}"/>
              </a:ext>
            </a:extLst>
          </p:cNvPr>
          <p:cNvSpPr/>
          <p:nvPr userDrawn="1"/>
        </p:nvSpPr>
        <p:spPr>
          <a:xfrm>
            <a:off x="2971280" y="2026955"/>
            <a:ext cx="1440000" cy="434567"/>
          </a:xfrm>
          <a:prstGeom prst="rect">
            <a:avLst/>
          </a:prstGeom>
          <a:solidFill>
            <a:srgbClr val="01ADE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0" i="0" u="none" strike="noStrike" kern="1200" baseline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#</a:t>
            </a:r>
            <a:r>
              <a:rPr lang="en-US" sz="1600" b="0" i="0" u="none" strike="noStrike" kern="1200" baseline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00AEFD</a:t>
            </a: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909EF10-6C16-3244-8DF3-025E91FC6493}"/>
              </a:ext>
            </a:extLst>
          </p:cNvPr>
          <p:cNvSpPr/>
          <p:nvPr userDrawn="1"/>
        </p:nvSpPr>
        <p:spPr>
          <a:xfrm>
            <a:off x="887794" y="2009543"/>
            <a:ext cx="1440000" cy="434567"/>
          </a:xfrm>
          <a:prstGeom prst="rect">
            <a:avLst/>
          </a:prstGeom>
          <a:solidFill>
            <a:srgbClr val="95D60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0" i="0" u="none" strike="noStrike" kern="1200" baseline="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#D82138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5F46AB0-882C-A24D-8021-C3B16F320AAE}"/>
              </a:ext>
            </a:extLst>
          </p:cNvPr>
          <p:cNvSpPr/>
          <p:nvPr userDrawn="1"/>
        </p:nvSpPr>
        <p:spPr>
          <a:xfrm>
            <a:off x="9221740" y="2024882"/>
            <a:ext cx="1440000" cy="434567"/>
          </a:xfrm>
          <a:prstGeom prst="rect">
            <a:avLst/>
          </a:prstGeom>
          <a:solidFill>
            <a:srgbClr val="0A2D3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>
                <a:solidFill>
                  <a:schemeClr val="bg1"/>
                </a:solidFill>
              </a:rPr>
              <a:t>#002D5F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925211-322A-AC42-BBA5-E9820E7E1677}"/>
              </a:ext>
            </a:extLst>
          </p:cNvPr>
          <p:cNvSpPr/>
          <p:nvPr userDrawn="1"/>
        </p:nvSpPr>
        <p:spPr>
          <a:xfrm>
            <a:off x="893508" y="5478801"/>
            <a:ext cx="2507810" cy="434567"/>
          </a:xfrm>
          <a:prstGeom prst="rect">
            <a:avLst/>
          </a:prstGeom>
          <a:solidFill>
            <a:srgbClr val="E91F5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0" i="0" u="none" strike="noStrike" kern="1200" baseline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#E91F51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9133F21-EDD7-D14D-92D9-BEF295B94E4A}"/>
              </a:ext>
            </a:extLst>
          </p:cNvPr>
          <p:cNvSpPr/>
          <p:nvPr userDrawn="1"/>
        </p:nvSpPr>
        <p:spPr>
          <a:xfrm>
            <a:off x="887794" y="2591883"/>
            <a:ext cx="1440000" cy="434567"/>
          </a:xfrm>
          <a:prstGeom prst="rect">
            <a:avLst/>
          </a:prstGeom>
          <a:solidFill>
            <a:srgbClr val="F0FAE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AE786B9-ACEA-E04B-9CFF-CBCFA1458125}"/>
              </a:ext>
            </a:extLst>
          </p:cNvPr>
          <p:cNvSpPr/>
          <p:nvPr userDrawn="1"/>
        </p:nvSpPr>
        <p:spPr>
          <a:xfrm>
            <a:off x="887794" y="3189849"/>
            <a:ext cx="1440000" cy="434567"/>
          </a:xfrm>
          <a:prstGeom prst="rect">
            <a:avLst/>
          </a:prstGeom>
          <a:solidFill>
            <a:srgbClr val="DBF1B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2D4AB2A-924D-4A41-BC57-EEFC8F2B028F}"/>
              </a:ext>
            </a:extLst>
          </p:cNvPr>
          <p:cNvSpPr/>
          <p:nvPr userDrawn="1"/>
        </p:nvSpPr>
        <p:spPr>
          <a:xfrm>
            <a:off x="887794" y="4870708"/>
            <a:ext cx="1440000" cy="434567"/>
          </a:xfrm>
          <a:prstGeom prst="rect">
            <a:avLst/>
          </a:prstGeom>
          <a:solidFill>
            <a:srgbClr val="AADF5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3945A57-07CD-7149-A493-352C1AB206C5}"/>
              </a:ext>
            </a:extLst>
          </p:cNvPr>
          <p:cNvSpPr/>
          <p:nvPr userDrawn="1"/>
        </p:nvSpPr>
        <p:spPr>
          <a:xfrm>
            <a:off x="887794" y="3750135"/>
            <a:ext cx="1440000" cy="434567"/>
          </a:xfrm>
          <a:prstGeom prst="rect">
            <a:avLst/>
          </a:prstGeom>
          <a:solidFill>
            <a:srgbClr val="C7E88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5A62A9B-72C1-8B4B-8A83-2FB3BDE33EA6}"/>
              </a:ext>
            </a:extLst>
          </p:cNvPr>
          <p:cNvSpPr/>
          <p:nvPr userDrawn="1"/>
        </p:nvSpPr>
        <p:spPr>
          <a:xfrm>
            <a:off x="909268" y="4298495"/>
            <a:ext cx="1440000" cy="434567"/>
          </a:xfrm>
          <a:prstGeom prst="rect">
            <a:avLst/>
          </a:prstGeom>
          <a:solidFill>
            <a:srgbClr val="95D602">
              <a:alpha val="69804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146CA4-A393-3145-B7B4-8E19B1B1C75C}"/>
              </a:ext>
            </a:extLst>
          </p:cNvPr>
          <p:cNvSpPr txBox="1"/>
          <p:nvPr userDrawn="1"/>
        </p:nvSpPr>
        <p:spPr>
          <a:xfrm>
            <a:off x="812800" y="88392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C7C578D-BB3C-DA4A-A061-DC9227327E14}"/>
              </a:ext>
            </a:extLst>
          </p:cNvPr>
          <p:cNvSpPr/>
          <p:nvPr userDrawn="1"/>
        </p:nvSpPr>
        <p:spPr>
          <a:xfrm>
            <a:off x="2971280" y="2591883"/>
            <a:ext cx="1440000" cy="434567"/>
          </a:xfrm>
          <a:prstGeom prst="rect">
            <a:avLst/>
          </a:prstGeom>
          <a:solidFill>
            <a:srgbClr val="01ADEF">
              <a:alpha val="1490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2AA2BC3-E35B-FA4A-92BA-F85EE1DF0ECE}"/>
              </a:ext>
            </a:extLst>
          </p:cNvPr>
          <p:cNvSpPr/>
          <p:nvPr userDrawn="1"/>
        </p:nvSpPr>
        <p:spPr>
          <a:xfrm>
            <a:off x="2971280" y="3189849"/>
            <a:ext cx="1440000" cy="434567"/>
          </a:xfrm>
          <a:prstGeom prst="rect">
            <a:avLst/>
          </a:prstGeom>
          <a:solidFill>
            <a:srgbClr val="01ADEF">
              <a:alpha val="3490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8C62596-5432-754E-9DA5-A3B80685EF93}"/>
              </a:ext>
            </a:extLst>
          </p:cNvPr>
          <p:cNvSpPr/>
          <p:nvPr userDrawn="1"/>
        </p:nvSpPr>
        <p:spPr>
          <a:xfrm>
            <a:off x="2971280" y="4870708"/>
            <a:ext cx="1440000" cy="434567"/>
          </a:xfrm>
          <a:prstGeom prst="rect">
            <a:avLst/>
          </a:prstGeom>
          <a:solidFill>
            <a:srgbClr val="01ADEF">
              <a:alpha val="8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F91E498-4EBD-864B-A093-F936BA8424D8}"/>
              </a:ext>
            </a:extLst>
          </p:cNvPr>
          <p:cNvSpPr/>
          <p:nvPr userDrawn="1"/>
        </p:nvSpPr>
        <p:spPr>
          <a:xfrm>
            <a:off x="2971280" y="3750135"/>
            <a:ext cx="1440000" cy="434567"/>
          </a:xfrm>
          <a:prstGeom prst="rect">
            <a:avLst/>
          </a:prstGeom>
          <a:solidFill>
            <a:srgbClr val="01ADEF">
              <a:alpha val="50196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F35D3BD-A697-B746-822F-6C341C0A0451}"/>
              </a:ext>
            </a:extLst>
          </p:cNvPr>
          <p:cNvSpPr/>
          <p:nvPr userDrawn="1"/>
        </p:nvSpPr>
        <p:spPr>
          <a:xfrm>
            <a:off x="2971280" y="4310421"/>
            <a:ext cx="1440000" cy="434567"/>
          </a:xfrm>
          <a:prstGeom prst="rect">
            <a:avLst/>
          </a:prstGeom>
          <a:solidFill>
            <a:srgbClr val="01ADEF">
              <a:alpha val="6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152BBFF-8DD6-AA4F-9903-921394DB6CA3}"/>
              </a:ext>
            </a:extLst>
          </p:cNvPr>
          <p:cNvSpPr/>
          <p:nvPr userDrawn="1"/>
        </p:nvSpPr>
        <p:spPr>
          <a:xfrm>
            <a:off x="9212606" y="2591883"/>
            <a:ext cx="1440000" cy="434567"/>
          </a:xfrm>
          <a:prstGeom prst="rect">
            <a:avLst/>
          </a:prstGeom>
          <a:solidFill>
            <a:srgbClr val="DBE1E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75899C3-A951-3F42-9CCD-5BDBAF9AD7B8}"/>
              </a:ext>
            </a:extLst>
          </p:cNvPr>
          <p:cNvSpPr/>
          <p:nvPr userDrawn="1"/>
        </p:nvSpPr>
        <p:spPr>
          <a:xfrm>
            <a:off x="9212606" y="3146304"/>
            <a:ext cx="1440000" cy="434567"/>
          </a:xfrm>
          <a:prstGeom prst="rect">
            <a:avLst/>
          </a:prstGeom>
          <a:solidFill>
            <a:srgbClr val="ABB6BB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BCE2D7F-9E4E-9D4C-BFAC-CA93ECE509A2}"/>
              </a:ext>
            </a:extLst>
          </p:cNvPr>
          <p:cNvSpPr/>
          <p:nvPr userDrawn="1"/>
        </p:nvSpPr>
        <p:spPr>
          <a:xfrm>
            <a:off x="9212606" y="4809568"/>
            <a:ext cx="1440000" cy="434567"/>
          </a:xfrm>
          <a:prstGeom prst="rect">
            <a:avLst/>
          </a:prstGeom>
          <a:solidFill>
            <a:srgbClr val="304B5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6A6E563-3DA0-614E-AC4A-833411C3E23C}"/>
              </a:ext>
            </a:extLst>
          </p:cNvPr>
          <p:cNvSpPr/>
          <p:nvPr userDrawn="1"/>
        </p:nvSpPr>
        <p:spPr>
          <a:xfrm>
            <a:off x="9212606" y="3700725"/>
            <a:ext cx="1440000" cy="434567"/>
          </a:xfrm>
          <a:prstGeom prst="rect">
            <a:avLst/>
          </a:prstGeom>
          <a:solidFill>
            <a:srgbClr val="7A8C9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5B91188-F6D5-E141-8B89-680BCA2B200C}"/>
              </a:ext>
            </a:extLst>
          </p:cNvPr>
          <p:cNvSpPr/>
          <p:nvPr userDrawn="1"/>
        </p:nvSpPr>
        <p:spPr>
          <a:xfrm>
            <a:off x="9212606" y="4255146"/>
            <a:ext cx="1440000" cy="434567"/>
          </a:xfrm>
          <a:prstGeom prst="rect">
            <a:avLst/>
          </a:prstGeom>
          <a:solidFill>
            <a:srgbClr val="556C7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C36593E-901E-9D4F-BD15-FDFF56C6CB99}"/>
              </a:ext>
            </a:extLst>
          </p:cNvPr>
          <p:cNvSpPr/>
          <p:nvPr userDrawn="1"/>
        </p:nvSpPr>
        <p:spPr>
          <a:xfrm>
            <a:off x="7138252" y="2591883"/>
            <a:ext cx="1440000" cy="434567"/>
          </a:xfrm>
          <a:prstGeom prst="rect">
            <a:avLst/>
          </a:prstGeom>
          <a:solidFill>
            <a:srgbClr val="F6F2E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2231B53-12AA-1348-82DE-BBCB33803356}"/>
              </a:ext>
            </a:extLst>
          </p:cNvPr>
          <p:cNvSpPr/>
          <p:nvPr userDrawn="1"/>
        </p:nvSpPr>
        <p:spPr>
          <a:xfrm>
            <a:off x="7138252" y="3152169"/>
            <a:ext cx="1440000" cy="434567"/>
          </a:xfrm>
          <a:prstGeom prst="rect">
            <a:avLst/>
          </a:prstGeom>
          <a:solidFill>
            <a:srgbClr val="E9E0C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151ED9B3-35C8-A649-8D04-7F0996010D33}"/>
              </a:ext>
            </a:extLst>
          </p:cNvPr>
          <p:cNvSpPr/>
          <p:nvPr userDrawn="1"/>
        </p:nvSpPr>
        <p:spPr>
          <a:xfrm>
            <a:off x="7138252" y="4833028"/>
            <a:ext cx="1440000" cy="434567"/>
          </a:xfrm>
          <a:prstGeom prst="rect">
            <a:avLst/>
          </a:prstGeom>
          <a:solidFill>
            <a:srgbClr val="C6B48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C91735F-2189-4B4B-87B5-BFFF07B9B4CE}"/>
              </a:ext>
            </a:extLst>
          </p:cNvPr>
          <p:cNvSpPr/>
          <p:nvPr userDrawn="1"/>
        </p:nvSpPr>
        <p:spPr>
          <a:xfrm>
            <a:off x="7138252" y="3712455"/>
            <a:ext cx="1440000" cy="434567"/>
          </a:xfrm>
          <a:prstGeom prst="rect">
            <a:avLst/>
          </a:prstGeom>
          <a:solidFill>
            <a:srgbClr val="DACFB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CBA754D-F573-454C-836D-8C4EC7255E0E}"/>
              </a:ext>
            </a:extLst>
          </p:cNvPr>
          <p:cNvSpPr/>
          <p:nvPr userDrawn="1"/>
        </p:nvSpPr>
        <p:spPr>
          <a:xfrm>
            <a:off x="7138252" y="4272741"/>
            <a:ext cx="1440000" cy="434567"/>
          </a:xfrm>
          <a:prstGeom prst="rect">
            <a:avLst/>
          </a:prstGeom>
          <a:solidFill>
            <a:srgbClr val="D0C29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ADA643F-1B98-304C-92DF-080E911444A8}"/>
              </a:ext>
            </a:extLst>
          </p:cNvPr>
          <p:cNvSpPr/>
          <p:nvPr userDrawn="1"/>
        </p:nvSpPr>
        <p:spPr>
          <a:xfrm>
            <a:off x="5054766" y="2594047"/>
            <a:ext cx="1440000" cy="434567"/>
          </a:xfrm>
          <a:prstGeom prst="rect">
            <a:avLst/>
          </a:prstGeom>
          <a:solidFill>
            <a:srgbClr val="E0EFF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98A884A-8E79-C447-8CE8-91082AF369E6}"/>
              </a:ext>
            </a:extLst>
          </p:cNvPr>
          <p:cNvSpPr/>
          <p:nvPr userDrawn="1"/>
        </p:nvSpPr>
        <p:spPr>
          <a:xfrm>
            <a:off x="5054766" y="3163212"/>
            <a:ext cx="1440000" cy="434567"/>
          </a:xfrm>
          <a:prstGeom prst="rect">
            <a:avLst/>
          </a:prstGeom>
          <a:solidFill>
            <a:srgbClr val="B4D7E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087E659-BFC8-B740-A1ED-6BB54832CBFB}"/>
              </a:ext>
            </a:extLst>
          </p:cNvPr>
          <p:cNvSpPr/>
          <p:nvPr userDrawn="1"/>
        </p:nvSpPr>
        <p:spPr>
          <a:xfrm>
            <a:off x="5054766" y="4870708"/>
            <a:ext cx="1440000" cy="434567"/>
          </a:xfrm>
          <a:prstGeom prst="rect">
            <a:avLst/>
          </a:prstGeom>
          <a:solidFill>
            <a:srgbClr val="3F9ED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9C8C28D-3943-7A4D-BA16-2AFF3B8320FF}"/>
              </a:ext>
            </a:extLst>
          </p:cNvPr>
          <p:cNvSpPr/>
          <p:nvPr userDrawn="1"/>
        </p:nvSpPr>
        <p:spPr>
          <a:xfrm>
            <a:off x="5054766" y="3732377"/>
            <a:ext cx="1440000" cy="434567"/>
          </a:xfrm>
          <a:prstGeom prst="rect">
            <a:avLst/>
          </a:prstGeom>
          <a:solidFill>
            <a:srgbClr val="93C7E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79079F2-F26D-3F44-BF08-A0A1F6685AE4}"/>
              </a:ext>
            </a:extLst>
          </p:cNvPr>
          <p:cNvSpPr/>
          <p:nvPr userDrawn="1"/>
        </p:nvSpPr>
        <p:spPr>
          <a:xfrm>
            <a:off x="5054766" y="4301542"/>
            <a:ext cx="1440000" cy="434567"/>
          </a:xfrm>
          <a:prstGeom prst="rect">
            <a:avLst/>
          </a:prstGeom>
          <a:solidFill>
            <a:srgbClr val="72B5D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67709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66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5810F23-00B9-48FC-B55F-463DCB0D2C5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6786D2-983E-41EF-BEF7-D90259B98660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">
            <a:extLst>
              <a:ext uri="{FF2B5EF4-FFF2-40B4-BE49-F238E27FC236}">
                <a16:creationId xmlns:a16="http://schemas.microsoft.com/office/drawing/2014/main" id="{DB810DA0-437D-F349-A37E-CBE67AD2D34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32503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031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0" y="0"/>
            <a:ext cx="12192001" cy="6858482"/>
          </a:xfrm>
          <a:prstGeom prst="rect">
            <a:avLst/>
          </a:prstGeom>
          <a:solidFill>
            <a:srgbClr val="002D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3"/>
            </p:custDataLst>
          </p:nvPr>
        </p:nvSpPr>
        <p:spPr bwMode="auto">
          <a:xfrm>
            <a:off x="1232602" y="281598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auto">
          <a:xfrm>
            <a:off x="1232602" y="2102142"/>
            <a:ext cx="9726795" cy="5847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3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461833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328" y="2495201"/>
            <a:ext cx="11353800" cy="7390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26D102F-F220-4E57-BDD6-CCEBB93D58AF}"/>
              </a:ext>
            </a:extLst>
          </p:cNvPr>
          <p:cNvGrpSpPr/>
          <p:nvPr userDrawn="1"/>
        </p:nvGrpSpPr>
        <p:grpSpPr>
          <a:xfrm>
            <a:off x="12558029" y="1"/>
            <a:ext cx="1644047" cy="1816099"/>
            <a:chOff x="9433981" y="1"/>
            <a:chExt cx="1644047" cy="1816099"/>
          </a:xfrm>
        </p:grpSpPr>
        <p:sp>
          <p:nvSpPr>
            <p:cNvPr id="13" name="Rectangle: Folded Corner 12">
              <a:extLst>
                <a:ext uri="{FF2B5EF4-FFF2-40B4-BE49-F238E27FC236}">
                  <a16:creationId xmlns:a16="http://schemas.microsoft.com/office/drawing/2014/main" id="{8C7E1A5C-1B15-4E0A-8682-D203C7DE6B6B}"/>
                </a:ext>
              </a:extLst>
            </p:cNvPr>
            <p:cNvSpPr/>
            <p:nvPr userDrawn="1"/>
          </p:nvSpPr>
          <p:spPr>
            <a:xfrm>
              <a:off x="9433981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r>
                <a:rPr lang="en-US" sz="1400">
                  <a:solidFill>
                    <a:schemeClr val="accent2">
                      <a:lumMod val="50000"/>
                    </a:schemeClr>
                  </a:solidFill>
                </a:rPr>
                <a:t>To insert your own icons*:</a:t>
              </a:r>
            </a:p>
            <a:p>
              <a:endParaRPr lang="en-US" sz="1400">
                <a:solidFill>
                  <a:schemeClr val="accent2">
                    <a:lumMod val="50000"/>
                  </a:schemeClr>
                </a:solidFill>
              </a:endParaRPr>
            </a:p>
            <a:p>
              <a:r>
                <a:rPr lang="en-US" sz="1400" b="1">
                  <a:solidFill>
                    <a:schemeClr val="accent2">
                      <a:lumMod val="50000"/>
                    </a:schemeClr>
                  </a:solidFill>
                </a:rPr>
                <a:t>Insert</a:t>
              </a:r>
              <a:r>
                <a:rPr lang="en-US" sz="1400">
                  <a:solidFill>
                    <a:schemeClr val="accent2">
                      <a:lumMod val="50000"/>
                    </a:schemeClr>
                  </a:solidFill>
                </a:rPr>
                <a:t> &gt;&gt; </a:t>
              </a:r>
              <a:r>
                <a:rPr lang="en-US" sz="1400" b="1">
                  <a:solidFill>
                    <a:schemeClr val="accent2">
                      <a:lumMod val="50000"/>
                    </a:schemeClr>
                  </a:solidFill>
                </a:rPr>
                <a:t>Icons</a:t>
              </a:r>
            </a:p>
            <a:p>
              <a:endParaRPr lang="en-US" sz="1400">
                <a:solidFill>
                  <a:schemeClr val="accent2">
                    <a:lumMod val="50000"/>
                  </a:schemeClr>
                </a:solidFill>
              </a:endParaRPr>
            </a:p>
            <a:p>
              <a:r>
                <a:rPr lang="en-US" sz="1200" i="1">
                  <a:solidFill>
                    <a:schemeClr val="accent2">
                      <a:lumMod val="50000"/>
                    </a:schemeClr>
                  </a:solidFill>
                </a:rPr>
                <a:t>(*Only available to Microsoft 365 subscribers)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C830CBBC-4DBF-48F3-A80A-5B9A5231588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t="1" b="5479"/>
            <a:stretch/>
          </p:blipFill>
          <p:spPr>
            <a:xfrm>
              <a:off x="10677978" y="424090"/>
              <a:ext cx="400050" cy="657225"/>
            </a:xfrm>
            <a:prstGeom prst="rect">
              <a:avLst/>
            </a:prstGeom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B01A5EA6-FAEB-AF54-5E13-73CC22A06340}"/>
              </a:ext>
            </a:extLst>
          </p:cNvPr>
          <p:cNvSpPr/>
          <p:nvPr userDrawn="1"/>
        </p:nvSpPr>
        <p:spPr>
          <a:xfrm>
            <a:off x="493776" y="640080"/>
            <a:ext cx="3182112" cy="441235"/>
          </a:xfrm>
          <a:prstGeom prst="rect">
            <a:avLst/>
          </a:prstGeom>
          <a:solidFill>
            <a:schemeClr val="bg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07675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031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rgbClr val="002D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1232602" y="324131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1232602" y="281598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auto">
          <a:xfrm>
            <a:off x="1232602" y="2102142"/>
            <a:ext cx="9726795" cy="5847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3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it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16960" y="3513672"/>
            <a:ext cx="5862320" cy="1310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47732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5854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D6A43F-F0E0-A54E-9E5C-25453008E10F}"/>
              </a:ext>
            </a:extLst>
          </p:cNvPr>
          <p:cNvSpPr txBox="1"/>
          <p:nvPr userDrawn="1"/>
        </p:nvSpPr>
        <p:spPr>
          <a:xfrm>
            <a:off x="10851614" y="663215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 dirty="0"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auto">
          <a:xfrm>
            <a:off x="1232602" y="5827075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rgbClr val="2581C5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auto">
          <a:xfrm>
            <a:off x="1232602" y="5451816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rgbClr val="2581C5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 bwMode="auto">
          <a:xfrm>
            <a:off x="1232602" y="4751593"/>
            <a:ext cx="9726795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3600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GB"/>
              <a:t>Click to edit title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4EC6308-8CF8-E441-95D1-9174F4538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447833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FFAC552-E47E-D741-A0E5-6D1BD99CD4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79520" y="5905818"/>
            <a:ext cx="4955546" cy="105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093599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66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5810F23-00B9-48FC-B55F-463DCB0D2C5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6786D2-983E-41EF-BEF7-D90259B98660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">
            <a:extLst>
              <a:ext uri="{FF2B5EF4-FFF2-40B4-BE49-F238E27FC236}">
                <a16:creationId xmlns:a16="http://schemas.microsoft.com/office/drawing/2014/main" id="{DB810DA0-437D-F349-A37E-CBE67AD2D34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53E7D15-2BC6-EE4E-A1B5-8C387044BD7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663224"/>
            <a:ext cx="110825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166926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66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11082528" cy="384721"/>
          </a:xfrm>
        </p:spPr>
        <p:txBody>
          <a:bodyPr vert="horz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6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5810F23-00B9-48FC-B55F-463DCB0D2C5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6786D2-983E-41EF-BEF7-D90259B98660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">
            <a:extLst>
              <a:ext uri="{FF2B5EF4-FFF2-40B4-BE49-F238E27FC236}">
                <a16:creationId xmlns:a16="http://schemas.microsoft.com/office/drawing/2014/main" id="{DB810DA0-437D-F349-A37E-CBE67AD2D34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3. Subtitle">
            <a:extLst>
              <a:ext uri="{FF2B5EF4-FFF2-40B4-BE49-F238E27FC236}">
                <a16:creationId xmlns:a16="http://schemas.microsoft.com/office/drawing/2014/main" id="{C53E7D15-2BC6-EE4E-A1B5-8C387044BD7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663224"/>
            <a:ext cx="110825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25349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9411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BCA66D">
              <a:alpha val="32941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29781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C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29781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CBB4424-747B-4649-B80D-1BA64296346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F4E0CCFD-FA63-B549-AA63-6D96EAE08D9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21240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DFB41C5-2D09-DC41-BA8D-392C9E673CEC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58932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811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2678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CABE7FD-2554-1942-A788-E17CA2D650D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155AED6-02B1-8040-A57E-5A17F3C87E24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9669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01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4877562" cy="384721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4877562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0054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B6EB5DE-682C-464A-B755-ACC8C4AF9D3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58BAF92-B430-874D-8468-E4F8934024E9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66243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32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6779514" cy="384721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779514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3952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FE40FE0-1884-294F-8E5A-01B00DD7151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904E6569-A085-FE4A-A369-A7D85BEDFA6B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758562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808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656320" y="0"/>
            <a:ext cx="3535680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749540" cy="384721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749540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6123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E420C21-2DE9-A840-A53F-0EBCF71D6972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AD96815-0628-E045-8648-BCDFAB3217D7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9454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61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9194800" y="0"/>
            <a:ext cx="2997200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834425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834425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6123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6B608FA-8CD5-1043-B062-E4985C993A7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6804EE5-2900-7C49-9EFC-1DDDEBDAE112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2356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9411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29781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C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29781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CBB4424-747B-4649-B80D-1BA64296346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F4E0CCFD-FA63-B549-AA63-6D96EAE08D9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21240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DFB41C5-2D09-DC41-BA8D-392C9E673CEC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807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811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2678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CABE7FD-2554-1942-A788-E17CA2D650D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155AED6-02B1-8040-A57E-5A17F3C87E24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82748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01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4877562" cy="384721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4877562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0054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B6EB5DE-682C-464A-B755-ACC8C4AF9D3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58BAF92-B430-874D-8468-E4F8934024E9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53703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32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6779514" cy="384721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779514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3952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FE40FE0-1884-294F-8E5A-01B00DD7151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904E6569-A085-FE4A-A369-A7D85BEDFA6B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1416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9411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BCA66D">
              <a:alpha val="32941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29781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C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29781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CBB4424-747B-4649-B80D-1BA64296346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F4E0CCFD-FA63-B549-AA63-6D96EAE08D9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21240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DFB41C5-2D09-DC41-BA8D-392C9E673CEC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61501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808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656320" y="0"/>
            <a:ext cx="3535680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749540" cy="384721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749540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6123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E420C21-2DE9-A840-A53F-0EBCF71D6972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AD96815-0628-E045-8648-BCDFAB3217D7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164539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61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9194800" y="0"/>
            <a:ext cx="2997200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834425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834425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6123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6B608FA-8CD5-1043-B062-E4985C993A7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6804EE5-2900-7C49-9EFC-1DDDEBDAE112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86488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031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rgbClr val="002D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1232602" y="324131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1232602" y="281598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auto">
          <a:xfrm>
            <a:off x="1232602" y="2102142"/>
            <a:ext cx="9726795" cy="5847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3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29925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7557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3413760" cy="6858000"/>
          </a:xfrm>
          <a:prstGeom prst="rect">
            <a:avLst/>
          </a:prstGeom>
          <a:solidFill>
            <a:srgbClr val="BCA66D">
              <a:alpha val="16863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29781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C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29781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229781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CBB4424-747B-4649-B80D-1BA64296346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15AA6C5-1C45-8F42-B9F8-81197310D348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90411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811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4736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2678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CABE7FD-2554-1942-A788-E17CA2D650D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D3349D-7FA1-8249-92B6-D95E3D97D76D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8276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333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6" y="41597"/>
            <a:ext cx="370054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B6EB5DE-682C-464A-B755-ACC8C4AF9D3D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FF4FEE11-2533-344C-8360-CEAF19D9C4A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4860544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3. Subtitle">
            <a:extLst>
              <a:ext uri="{FF2B5EF4-FFF2-40B4-BE49-F238E27FC236}">
                <a16:creationId xmlns:a16="http://schemas.microsoft.com/office/drawing/2014/main" id="{1A7E102A-6AE6-A84A-AE90-FA7F9E26443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5" y="3659644"/>
            <a:ext cx="4860543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E267F3E-4EF2-B341-9F68-3E7CBEA92207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3009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77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BE2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B02AC1A4-4570-BB42-8F9F-FF41D97CDE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92F0B8A4-B12A-B24F-8A54-245D323CDDB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52BAC75-F801-9B4A-A3B2-78A0B67E63B0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0951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bg>
      <p:bgPr>
        <a:solidFill>
          <a:srgbClr val="EBE2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77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B02AC1A4-4570-BB42-8F9F-FF41D97CDE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92F0B8A4-B12A-B24F-8A54-245D323CDDB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5F16F0B-F601-B040-8E9B-AA307633D26A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20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one third">
    <p:bg>
      <p:bgPr>
        <a:solidFill>
          <a:srgbClr val="EBE2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77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0" y="0"/>
            <a:ext cx="8303172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B02AC1A4-4570-BB42-8F9F-FF41D97CDE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92F0B8A4-B12A-B24F-8A54-245D323CDDB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5C12ADD-923C-884E-914C-986A1B7A064E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868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088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58460" y="212329"/>
            <a:ext cx="10220324" cy="375937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lnSpc>
                <a:spcPct val="105000"/>
              </a:lnSpc>
              <a:defRPr sz="2500" baseline="0"/>
            </a:lvl1pPr>
          </a:lstStyle>
          <a:p>
            <a:r>
              <a:rPr lang="en-US"/>
              <a:t>Alternative </a:t>
            </a:r>
            <a:r>
              <a:rPr lang="en-US" err="1"/>
              <a:t>colour</a:t>
            </a:r>
            <a:r>
              <a:rPr lang="en-US"/>
              <a:t> Codes – in addition to theme </a:t>
            </a:r>
            <a:r>
              <a:rPr lang="en-US" err="1"/>
              <a:t>colours</a:t>
            </a:r>
            <a:endParaRPr lang="en-US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758460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DE072CE-3B00-41EC-B415-3189888D00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263F6BC-5BAE-554E-AF1F-9034D2F407BA}"/>
              </a:ext>
            </a:extLst>
          </p:cNvPr>
          <p:cNvSpPr/>
          <p:nvPr userDrawn="1"/>
        </p:nvSpPr>
        <p:spPr>
          <a:xfrm>
            <a:off x="7138252" y="2024882"/>
            <a:ext cx="1440000" cy="434567"/>
          </a:xfrm>
          <a:prstGeom prst="rect">
            <a:avLst/>
          </a:prstGeom>
          <a:solidFill>
            <a:srgbClr val="BCA66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dirty="0">
                <a:solidFill>
                  <a:schemeClr val="bg1"/>
                </a:solidFill>
              </a:rPr>
              <a:t>#BBA66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EB0286A-1DF2-D046-A8F5-FA6A9ED9B713}"/>
              </a:ext>
            </a:extLst>
          </p:cNvPr>
          <p:cNvSpPr/>
          <p:nvPr userDrawn="1"/>
        </p:nvSpPr>
        <p:spPr>
          <a:xfrm>
            <a:off x="5054766" y="2024882"/>
            <a:ext cx="1440000" cy="434567"/>
          </a:xfrm>
          <a:prstGeom prst="rect">
            <a:avLst/>
          </a:prstGeom>
          <a:solidFill>
            <a:srgbClr val="008DC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0" i="0" u="none" strike="noStrike" kern="1200" baseline="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#008DC9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720352-2563-3547-A6C9-86340F8EC620}"/>
              </a:ext>
            </a:extLst>
          </p:cNvPr>
          <p:cNvSpPr/>
          <p:nvPr userDrawn="1"/>
        </p:nvSpPr>
        <p:spPr>
          <a:xfrm>
            <a:off x="2971280" y="2026955"/>
            <a:ext cx="1440000" cy="434567"/>
          </a:xfrm>
          <a:prstGeom prst="rect">
            <a:avLst/>
          </a:prstGeom>
          <a:solidFill>
            <a:srgbClr val="01ADE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0" i="0" u="none" strike="noStrike" kern="1200" baseline="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#</a:t>
            </a:r>
            <a:r>
              <a:rPr lang="en-US" sz="1600" b="0" i="0" u="none" strike="noStrike" kern="1200" baseline="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00AEFD</a:t>
            </a: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909EF10-6C16-3244-8DF3-025E91FC6493}"/>
              </a:ext>
            </a:extLst>
          </p:cNvPr>
          <p:cNvSpPr/>
          <p:nvPr userDrawn="1"/>
        </p:nvSpPr>
        <p:spPr>
          <a:xfrm>
            <a:off x="887794" y="2009543"/>
            <a:ext cx="1440000" cy="434567"/>
          </a:xfrm>
          <a:prstGeom prst="rect">
            <a:avLst/>
          </a:prstGeom>
          <a:solidFill>
            <a:srgbClr val="95D60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0" i="0" u="none" strike="noStrike" kern="1200" baseline="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#D82138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5F46AB0-882C-A24D-8021-C3B16F320AAE}"/>
              </a:ext>
            </a:extLst>
          </p:cNvPr>
          <p:cNvSpPr/>
          <p:nvPr userDrawn="1"/>
        </p:nvSpPr>
        <p:spPr>
          <a:xfrm>
            <a:off x="9221740" y="2024882"/>
            <a:ext cx="1440000" cy="434567"/>
          </a:xfrm>
          <a:prstGeom prst="rect">
            <a:avLst/>
          </a:prstGeom>
          <a:solidFill>
            <a:srgbClr val="0A2D3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dirty="0">
                <a:solidFill>
                  <a:schemeClr val="bg1"/>
                </a:solidFill>
              </a:rPr>
              <a:t>#002D5F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925211-322A-AC42-BBA5-E9820E7E1677}"/>
              </a:ext>
            </a:extLst>
          </p:cNvPr>
          <p:cNvSpPr/>
          <p:nvPr userDrawn="1"/>
        </p:nvSpPr>
        <p:spPr>
          <a:xfrm>
            <a:off x="893508" y="5478801"/>
            <a:ext cx="2507810" cy="434567"/>
          </a:xfrm>
          <a:prstGeom prst="rect">
            <a:avLst/>
          </a:prstGeom>
          <a:solidFill>
            <a:srgbClr val="E91F5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0" i="0" u="none" strike="noStrike" kern="1200" baseline="0" dirty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#E91F51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9133F21-EDD7-D14D-92D9-BEF295B94E4A}"/>
              </a:ext>
            </a:extLst>
          </p:cNvPr>
          <p:cNvSpPr/>
          <p:nvPr userDrawn="1"/>
        </p:nvSpPr>
        <p:spPr>
          <a:xfrm>
            <a:off x="887794" y="2591883"/>
            <a:ext cx="1440000" cy="434567"/>
          </a:xfrm>
          <a:prstGeom prst="rect">
            <a:avLst/>
          </a:prstGeom>
          <a:solidFill>
            <a:srgbClr val="F0FAE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AE786B9-ACEA-E04B-9CFF-CBCFA1458125}"/>
              </a:ext>
            </a:extLst>
          </p:cNvPr>
          <p:cNvSpPr/>
          <p:nvPr userDrawn="1"/>
        </p:nvSpPr>
        <p:spPr>
          <a:xfrm>
            <a:off x="887794" y="3189849"/>
            <a:ext cx="1440000" cy="434567"/>
          </a:xfrm>
          <a:prstGeom prst="rect">
            <a:avLst/>
          </a:prstGeom>
          <a:solidFill>
            <a:srgbClr val="DBF1B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2D4AB2A-924D-4A41-BC57-EEFC8F2B028F}"/>
              </a:ext>
            </a:extLst>
          </p:cNvPr>
          <p:cNvSpPr/>
          <p:nvPr userDrawn="1"/>
        </p:nvSpPr>
        <p:spPr>
          <a:xfrm>
            <a:off x="887794" y="4870708"/>
            <a:ext cx="1440000" cy="434567"/>
          </a:xfrm>
          <a:prstGeom prst="rect">
            <a:avLst/>
          </a:prstGeom>
          <a:solidFill>
            <a:srgbClr val="AADF5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3945A57-07CD-7149-A493-352C1AB206C5}"/>
              </a:ext>
            </a:extLst>
          </p:cNvPr>
          <p:cNvSpPr/>
          <p:nvPr userDrawn="1"/>
        </p:nvSpPr>
        <p:spPr>
          <a:xfrm>
            <a:off x="887794" y="3750135"/>
            <a:ext cx="1440000" cy="434567"/>
          </a:xfrm>
          <a:prstGeom prst="rect">
            <a:avLst/>
          </a:prstGeom>
          <a:solidFill>
            <a:srgbClr val="C7E88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5A62A9B-72C1-8B4B-8A83-2FB3BDE33EA6}"/>
              </a:ext>
            </a:extLst>
          </p:cNvPr>
          <p:cNvSpPr/>
          <p:nvPr userDrawn="1"/>
        </p:nvSpPr>
        <p:spPr>
          <a:xfrm>
            <a:off x="909268" y="4298495"/>
            <a:ext cx="1440000" cy="434567"/>
          </a:xfrm>
          <a:prstGeom prst="rect">
            <a:avLst/>
          </a:prstGeom>
          <a:solidFill>
            <a:srgbClr val="95D602">
              <a:alpha val="69804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146CA4-A393-3145-B7B4-8E19B1B1C75C}"/>
              </a:ext>
            </a:extLst>
          </p:cNvPr>
          <p:cNvSpPr txBox="1"/>
          <p:nvPr userDrawn="1"/>
        </p:nvSpPr>
        <p:spPr>
          <a:xfrm>
            <a:off x="812800" y="88392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 dirty="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C7C578D-BB3C-DA4A-A061-DC9227327E14}"/>
              </a:ext>
            </a:extLst>
          </p:cNvPr>
          <p:cNvSpPr/>
          <p:nvPr userDrawn="1"/>
        </p:nvSpPr>
        <p:spPr>
          <a:xfrm>
            <a:off x="2971280" y="2591883"/>
            <a:ext cx="1440000" cy="434567"/>
          </a:xfrm>
          <a:prstGeom prst="rect">
            <a:avLst/>
          </a:prstGeom>
          <a:solidFill>
            <a:srgbClr val="01ADEF">
              <a:alpha val="1490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2AA2BC3-E35B-FA4A-92BA-F85EE1DF0ECE}"/>
              </a:ext>
            </a:extLst>
          </p:cNvPr>
          <p:cNvSpPr/>
          <p:nvPr userDrawn="1"/>
        </p:nvSpPr>
        <p:spPr>
          <a:xfrm>
            <a:off x="2971280" y="3189849"/>
            <a:ext cx="1440000" cy="434567"/>
          </a:xfrm>
          <a:prstGeom prst="rect">
            <a:avLst/>
          </a:prstGeom>
          <a:solidFill>
            <a:srgbClr val="01ADEF">
              <a:alpha val="3490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8C62596-5432-754E-9DA5-A3B80685EF93}"/>
              </a:ext>
            </a:extLst>
          </p:cNvPr>
          <p:cNvSpPr/>
          <p:nvPr userDrawn="1"/>
        </p:nvSpPr>
        <p:spPr>
          <a:xfrm>
            <a:off x="2971280" y="4870708"/>
            <a:ext cx="1440000" cy="434567"/>
          </a:xfrm>
          <a:prstGeom prst="rect">
            <a:avLst/>
          </a:prstGeom>
          <a:solidFill>
            <a:srgbClr val="01ADEF">
              <a:alpha val="8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F91E498-4EBD-864B-A093-F936BA8424D8}"/>
              </a:ext>
            </a:extLst>
          </p:cNvPr>
          <p:cNvSpPr/>
          <p:nvPr userDrawn="1"/>
        </p:nvSpPr>
        <p:spPr>
          <a:xfrm>
            <a:off x="2971280" y="3750135"/>
            <a:ext cx="1440000" cy="434567"/>
          </a:xfrm>
          <a:prstGeom prst="rect">
            <a:avLst/>
          </a:prstGeom>
          <a:solidFill>
            <a:srgbClr val="01ADEF">
              <a:alpha val="50196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F35D3BD-A697-B746-822F-6C341C0A0451}"/>
              </a:ext>
            </a:extLst>
          </p:cNvPr>
          <p:cNvSpPr/>
          <p:nvPr userDrawn="1"/>
        </p:nvSpPr>
        <p:spPr>
          <a:xfrm>
            <a:off x="2971280" y="4310421"/>
            <a:ext cx="1440000" cy="434567"/>
          </a:xfrm>
          <a:prstGeom prst="rect">
            <a:avLst/>
          </a:prstGeom>
          <a:solidFill>
            <a:srgbClr val="01ADEF">
              <a:alpha val="6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152BBFF-8DD6-AA4F-9903-921394DB6CA3}"/>
              </a:ext>
            </a:extLst>
          </p:cNvPr>
          <p:cNvSpPr/>
          <p:nvPr userDrawn="1"/>
        </p:nvSpPr>
        <p:spPr>
          <a:xfrm>
            <a:off x="9212606" y="2591883"/>
            <a:ext cx="1440000" cy="434567"/>
          </a:xfrm>
          <a:prstGeom prst="rect">
            <a:avLst/>
          </a:prstGeom>
          <a:solidFill>
            <a:srgbClr val="DBE1E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75899C3-A951-3F42-9CCD-5BDBAF9AD7B8}"/>
              </a:ext>
            </a:extLst>
          </p:cNvPr>
          <p:cNvSpPr/>
          <p:nvPr userDrawn="1"/>
        </p:nvSpPr>
        <p:spPr>
          <a:xfrm>
            <a:off x="9212606" y="3146304"/>
            <a:ext cx="1440000" cy="434567"/>
          </a:xfrm>
          <a:prstGeom prst="rect">
            <a:avLst/>
          </a:prstGeom>
          <a:solidFill>
            <a:srgbClr val="ABB6BB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BCE2D7F-9E4E-9D4C-BFAC-CA93ECE509A2}"/>
              </a:ext>
            </a:extLst>
          </p:cNvPr>
          <p:cNvSpPr/>
          <p:nvPr userDrawn="1"/>
        </p:nvSpPr>
        <p:spPr>
          <a:xfrm>
            <a:off x="9212606" y="4809568"/>
            <a:ext cx="1440000" cy="434567"/>
          </a:xfrm>
          <a:prstGeom prst="rect">
            <a:avLst/>
          </a:prstGeom>
          <a:solidFill>
            <a:srgbClr val="304B5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6A6E563-3DA0-614E-AC4A-833411C3E23C}"/>
              </a:ext>
            </a:extLst>
          </p:cNvPr>
          <p:cNvSpPr/>
          <p:nvPr userDrawn="1"/>
        </p:nvSpPr>
        <p:spPr>
          <a:xfrm>
            <a:off x="9212606" y="3700725"/>
            <a:ext cx="1440000" cy="434567"/>
          </a:xfrm>
          <a:prstGeom prst="rect">
            <a:avLst/>
          </a:prstGeom>
          <a:solidFill>
            <a:srgbClr val="7A8C9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5B91188-F6D5-E141-8B89-680BCA2B200C}"/>
              </a:ext>
            </a:extLst>
          </p:cNvPr>
          <p:cNvSpPr/>
          <p:nvPr userDrawn="1"/>
        </p:nvSpPr>
        <p:spPr>
          <a:xfrm>
            <a:off x="9212606" y="4255146"/>
            <a:ext cx="1440000" cy="434567"/>
          </a:xfrm>
          <a:prstGeom prst="rect">
            <a:avLst/>
          </a:prstGeom>
          <a:solidFill>
            <a:srgbClr val="556C7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C36593E-901E-9D4F-BD15-FDFF56C6CB99}"/>
              </a:ext>
            </a:extLst>
          </p:cNvPr>
          <p:cNvSpPr/>
          <p:nvPr userDrawn="1"/>
        </p:nvSpPr>
        <p:spPr>
          <a:xfrm>
            <a:off x="7138252" y="2591883"/>
            <a:ext cx="1440000" cy="434567"/>
          </a:xfrm>
          <a:prstGeom prst="rect">
            <a:avLst/>
          </a:prstGeom>
          <a:solidFill>
            <a:srgbClr val="F6F2E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2231B53-12AA-1348-82DE-BBCB33803356}"/>
              </a:ext>
            </a:extLst>
          </p:cNvPr>
          <p:cNvSpPr/>
          <p:nvPr userDrawn="1"/>
        </p:nvSpPr>
        <p:spPr>
          <a:xfrm>
            <a:off x="7138252" y="3152169"/>
            <a:ext cx="1440000" cy="434567"/>
          </a:xfrm>
          <a:prstGeom prst="rect">
            <a:avLst/>
          </a:prstGeom>
          <a:solidFill>
            <a:srgbClr val="E9E0C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151ED9B3-35C8-A649-8D04-7F0996010D33}"/>
              </a:ext>
            </a:extLst>
          </p:cNvPr>
          <p:cNvSpPr/>
          <p:nvPr userDrawn="1"/>
        </p:nvSpPr>
        <p:spPr>
          <a:xfrm>
            <a:off x="7138252" y="4833028"/>
            <a:ext cx="1440000" cy="434567"/>
          </a:xfrm>
          <a:prstGeom prst="rect">
            <a:avLst/>
          </a:prstGeom>
          <a:solidFill>
            <a:srgbClr val="C6B48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C91735F-2189-4B4B-87B5-BFFF07B9B4CE}"/>
              </a:ext>
            </a:extLst>
          </p:cNvPr>
          <p:cNvSpPr/>
          <p:nvPr userDrawn="1"/>
        </p:nvSpPr>
        <p:spPr>
          <a:xfrm>
            <a:off x="7138252" y="3712455"/>
            <a:ext cx="1440000" cy="434567"/>
          </a:xfrm>
          <a:prstGeom prst="rect">
            <a:avLst/>
          </a:prstGeom>
          <a:solidFill>
            <a:srgbClr val="DACFB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CBA754D-F573-454C-836D-8C4EC7255E0E}"/>
              </a:ext>
            </a:extLst>
          </p:cNvPr>
          <p:cNvSpPr/>
          <p:nvPr userDrawn="1"/>
        </p:nvSpPr>
        <p:spPr>
          <a:xfrm>
            <a:off x="7138252" y="4272741"/>
            <a:ext cx="1440000" cy="434567"/>
          </a:xfrm>
          <a:prstGeom prst="rect">
            <a:avLst/>
          </a:prstGeom>
          <a:solidFill>
            <a:srgbClr val="D0C29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ADA643F-1B98-304C-92DF-080E911444A8}"/>
              </a:ext>
            </a:extLst>
          </p:cNvPr>
          <p:cNvSpPr/>
          <p:nvPr userDrawn="1"/>
        </p:nvSpPr>
        <p:spPr>
          <a:xfrm>
            <a:off x="5054766" y="2594047"/>
            <a:ext cx="1440000" cy="434567"/>
          </a:xfrm>
          <a:prstGeom prst="rect">
            <a:avLst/>
          </a:prstGeom>
          <a:solidFill>
            <a:srgbClr val="E0EFF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98A884A-8E79-C447-8CE8-91082AF369E6}"/>
              </a:ext>
            </a:extLst>
          </p:cNvPr>
          <p:cNvSpPr/>
          <p:nvPr userDrawn="1"/>
        </p:nvSpPr>
        <p:spPr>
          <a:xfrm>
            <a:off x="5054766" y="3163212"/>
            <a:ext cx="1440000" cy="434567"/>
          </a:xfrm>
          <a:prstGeom prst="rect">
            <a:avLst/>
          </a:prstGeom>
          <a:solidFill>
            <a:srgbClr val="B4D7E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087E659-BFC8-B740-A1ED-6BB54832CBFB}"/>
              </a:ext>
            </a:extLst>
          </p:cNvPr>
          <p:cNvSpPr/>
          <p:nvPr userDrawn="1"/>
        </p:nvSpPr>
        <p:spPr>
          <a:xfrm>
            <a:off x="5054766" y="4870708"/>
            <a:ext cx="1440000" cy="434567"/>
          </a:xfrm>
          <a:prstGeom prst="rect">
            <a:avLst/>
          </a:prstGeom>
          <a:solidFill>
            <a:srgbClr val="3F9ED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9C8C28D-3943-7A4D-BA16-2AFF3B8320FF}"/>
              </a:ext>
            </a:extLst>
          </p:cNvPr>
          <p:cNvSpPr/>
          <p:nvPr userDrawn="1"/>
        </p:nvSpPr>
        <p:spPr>
          <a:xfrm>
            <a:off x="5054766" y="3732377"/>
            <a:ext cx="1440000" cy="434567"/>
          </a:xfrm>
          <a:prstGeom prst="rect">
            <a:avLst/>
          </a:prstGeom>
          <a:solidFill>
            <a:srgbClr val="93C7E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79079F2-F26D-3F44-BF08-A0A1F6685AE4}"/>
              </a:ext>
            </a:extLst>
          </p:cNvPr>
          <p:cNvSpPr/>
          <p:nvPr userDrawn="1"/>
        </p:nvSpPr>
        <p:spPr>
          <a:xfrm>
            <a:off x="5054766" y="4301542"/>
            <a:ext cx="1440000" cy="434567"/>
          </a:xfrm>
          <a:prstGeom prst="rect">
            <a:avLst/>
          </a:prstGeom>
          <a:solidFill>
            <a:srgbClr val="72B5D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03964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811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2678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CABE7FD-2554-1942-A788-E17CA2D650D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155AED6-02B1-8040-A57E-5A17F3C87E24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2444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66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5810F23-00B9-48FC-B55F-463DCB0D2C5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Source: …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6786D2-983E-41EF-BEF7-D90259B98660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">
            <a:extLst>
              <a:ext uri="{FF2B5EF4-FFF2-40B4-BE49-F238E27FC236}">
                <a16:creationId xmlns:a16="http://schemas.microsoft.com/office/drawing/2014/main" id="{DB810DA0-437D-F349-A37E-CBE67AD2D34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25467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031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0" y="0"/>
            <a:ext cx="12192001" cy="6858482"/>
          </a:xfrm>
          <a:prstGeom prst="rect">
            <a:avLst/>
          </a:prstGeom>
          <a:solidFill>
            <a:srgbClr val="002D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3"/>
            </p:custDataLst>
          </p:nvPr>
        </p:nvSpPr>
        <p:spPr bwMode="auto">
          <a:xfrm>
            <a:off x="1232602" y="281598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auto">
          <a:xfrm>
            <a:off x="1232602" y="2102142"/>
            <a:ext cx="9726795" cy="5847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3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16426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031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-1" y="0"/>
            <a:ext cx="12192001" cy="6858482"/>
          </a:xfrm>
          <a:prstGeom prst="rect">
            <a:avLst/>
          </a:prstGeom>
          <a:solidFill>
            <a:srgbClr val="002D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 bwMode="auto">
          <a:xfrm>
            <a:off x="1232602" y="3241318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 bwMode="auto">
          <a:xfrm>
            <a:off x="1232602" y="281598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auto">
          <a:xfrm>
            <a:off x="1232602" y="2102142"/>
            <a:ext cx="9726795" cy="5847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3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itle</a:t>
            </a:r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9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16960" y="3513672"/>
            <a:ext cx="5862320" cy="1310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85675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58543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BD6A43F-F0E0-A54E-9E5C-25453008E10F}"/>
              </a:ext>
            </a:extLst>
          </p:cNvPr>
          <p:cNvSpPr txBox="1"/>
          <p:nvPr userDrawn="1"/>
        </p:nvSpPr>
        <p:spPr>
          <a:xfrm>
            <a:off x="10851614" y="6632154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/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 bwMode="auto">
          <a:xfrm>
            <a:off x="1232602" y="5827075"/>
            <a:ext cx="9726795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>
                <a:solidFill>
                  <a:srgbClr val="2581C5"/>
                </a:solidFill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 bwMode="auto">
          <a:xfrm>
            <a:off x="1232602" y="5451816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rgbClr val="2581C5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18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 bwMode="auto">
          <a:xfrm>
            <a:off x="1232602" y="4751593"/>
            <a:ext cx="9726795" cy="55399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3600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GB"/>
              <a:t>Click to edit title</a:t>
            </a:r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4EC6308-8CF8-E441-95D1-9174F45385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447833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8FFAC552-E47E-D741-A0E5-6D1BD99CD4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79520" y="5905818"/>
            <a:ext cx="4955546" cy="105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987333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8668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75810F23-00B9-48FC-B55F-463DCB0D2C5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6786D2-983E-41EF-BEF7-D90259B98660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 Number">
            <a:extLst>
              <a:ext uri="{FF2B5EF4-FFF2-40B4-BE49-F238E27FC236}">
                <a16:creationId xmlns:a16="http://schemas.microsoft.com/office/drawing/2014/main" id="{DB810DA0-437D-F349-A37E-CBE67AD2D34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accent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473131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9411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BCA66D">
              <a:alpha val="32941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29781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C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29781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CBB4424-747B-4649-B80D-1BA64296346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DFB41C5-2D09-DC41-BA8D-392C9E673CEC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38004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811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CABE7FD-2554-1942-A788-E17CA2D650D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155AED6-02B1-8040-A57E-5A17F3C87E24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2693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01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4877562" cy="384721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4877562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B6EB5DE-682C-464A-B755-ACC8C4AF9D3D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58BAF92-B430-874D-8468-E4F8934024E9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275202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32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572" imgH="588" progId="TCLayout.ActiveDocument.1">
                  <p:embed/>
                </p:oleObj>
              </mc:Choice>
              <mc:Fallback>
                <p:oleObj name="think-cell Slide" r:id="rId9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6779514" cy="384721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779514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FE40FE0-1884-294F-8E5A-01B00DD7151E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904E6569-A085-FE4A-A369-A7D85BEDFA6B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8209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808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656320" y="0"/>
            <a:ext cx="3535680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749540" cy="384721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749540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6123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E420C21-2DE9-A840-A53F-0EBCF71D6972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AD96815-0628-E045-8648-BCDFAB3217D7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0188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01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4877562" cy="384721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4877562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0054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B6EB5DE-682C-464A-B755-ACC8C4AF9D3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58BAF92-B430-874D-8468-E4F8934024E9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7739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61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9194800" y="0"/>
            <a:ext cx="2997200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834425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834425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6123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6B608FA-8CD5-1043-B062-E4985C993A7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6804EE5-2900-7C49-9EFC-1DDDEBDAE112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77195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94113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29781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C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29781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CBB4424-747B-4649-B80D-1BA64296346B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1. On-page tracker">
            <a:extLst>
              <a:ext uri="{FF2B5EF4-FFF2-40B4-BE49-F238E27FC236}">
                <a16:creationId xmlns:a16="http://schemas.microsoft.com/office/drawing/2014/main" id="{F4E0CCFD-FA63-B549-AA63-6D96EAE08D9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6" y="41597"/>
            <a:ext cx="21240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DFB41C5-2D09-DC41-BA8D-392C9E673CEC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5800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811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2678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CABE7FD-2554-1942-A788-E17CA2D650D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7155AED6-02B1-8040-A57E-5A17F3C87E24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04452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01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4877562" cy="384721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4877562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0054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B6EB5DE-682C-464A-B755-ACC8C4AF9D3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58BAF92-B430-874D-8468-E4F8934024E9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70298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32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6779514" cy="384721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779514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3952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FE40FE0-1884-294F-8E5A-01B00DD7151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904E6569-A085-FE4A-A369-A7D85BEDFA6B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6550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808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656320" y="0"/>
            <a:ext cx="3535680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749540" cy="384721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749540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6123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E420C21-2DE9-A840-A53F-0EBCF71D6972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AD96815-0628-E045-8648-BCDFAB3217D7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46096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61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9194800" y="0"/>
            <a:ext cx="2997200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834425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834425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6123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6B608FA-8CD5-1043-B062-E4985C993A7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6804EE5-2900-7C49-9EFC-1DDDEBDAE112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38076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90031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E9BC4D-FFB4-400E-8188-E55DEF56D764}"/>
              </a:ext>
            </a:extLst>
          </p:cNvPr>
          <p:cNvSpPr/>
          <p:nvPr userDrawn="1"/>
        </p:nvSpPr>
        <p:spPr bwMode="ltGray">
          <a:xfrm>
            <a:off x="0" y="0"/>
            <a:ext cx="12192001" cy="6858482"/>
          </a:xfrm>
          <a:prstGeom prst="rect">
            <a:avLst/>
          </a:prstGeom>
          <a:solidFill>
            <a:srgbClr val="002D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3"/>
            </p:custDataLst>
          </p:nvPr>
        </p:nvSpPr>
        <p:spPr bwMode="auto">
          <a:xfrm>
            <a:off x="1232602" y="2815981"/>
            <a:ext cx="9726795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000" dirty="0">
                <a:solidFill>
                  <a:schemeClr val="bg1"/>
                </a:solidFill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 bwMode="auto">
          <a:xfrm>
            <a:off x="1232602" y="2102142"/>
            <a:ext cx="9726795" cy="58477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algn="ctr">
              <a:defRPr lang="en-US" sz="38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07102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7557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3413760" cy="6858000"/>
          </a:xfrm>
          <a:prstGeom prst="rect">
            <a:avLst/>
          </a:prstGeom>
          <a:solidFill>
            <a:srgbClr val="BCA66D">
              <a:alpha val="16863"/>
            </a:srgbClr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2297810" cy="769441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C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2297810" cy="492443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229781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7464C0CD-0723-45A4-A263-515E8565C86B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25146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CBB4424-747B-4649-B80D-1BA64296346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15AA6C5-1C45-8F42-B9F8-81197310D348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815275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1811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4364736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2678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E1369BC2-0ABC-41FF-935B-30D4F07067A4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2" y="6592511"/>
            <a:ext cx="3465575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CABE7FD-2554-1942-A788-E17CA2D650D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D3349D-7FA1-8249-92B6-D95E3D97D76D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3003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03291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97613"/>
            <a:ext cx="6779514" cy="384721"/>
          </a:xfrm>
        </p:spPr>
        <p:txBody>
          <a:bodyPr vert="horz" wrap="square">
            <a:sp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6779514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3952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C23F61CB-BFAD-418C-9A49-B57D79723157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6967728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FE40FE0-1884-294F-8E5A-01B00DD7151E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904E6569-A085-FE4A-A369-A7D85BEDFA6B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9459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1333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rgbClr val="F4F0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6" y="41597"/>
            <a:ext cx="3700542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406476E-7049-492E-8D4C-6B435C88701C}"/>
              </a:ext>
            </a:extLst>
          </p:cNvPr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553971" y="6592511"/>
            <a:ext cx="5065776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B6EB5DE-682C-464A-B755-ACC8C4AF9D3D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FF4FEE11-2533-344C-8360-CEAF19D9C4A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4860544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3. Subtitle">
            <a:extLst>
              <a:ext uri="{FF2B5EF4-FFF2-40B4-BE49-F238E27FC236}">
                <a16:creationId xmlns:a16="http://schemas.microsoft.com/office/drawing/2014/main" id="{1A7E102A-6AE6-A84A-AE90-FA7F9E26443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5" y="3659644"/>
            <a:ext cx="4860543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EE267F3E-4EF2-B341-9F68-3E7CBEA92207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75613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77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rgbClr val="EBE2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B02AC1A4-4570-BB42-8F9F-FF41D97CDE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92F0B8A4-B12A-B24F-8A54-245D323CDDB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52BAC75-F801-9B4A-A3B2-78A0B67E63B0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6660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Green arrow one third">
    <p:bg>
      <p:bgPr>
        <a:solidFill>
          <a:srgbClr val="EBE2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77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B02AC1A4-4570-BB42-8F9F-FF41D97CDE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92F0B8A4-B12A-B24F-8A54-245D323CDDB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D5F16F0B-F601-B040-8E9B-AA307633D26A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9035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Green arrow one third">
    <p:bg>
      <p:bgPr>
        <a:solidFill>
          <a:srgbClr val="EBE2C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8774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86" imgH="286" progId="TCLayout.ActiveDocument.1">
                  <p:embed/>
                </p:oleObj>
              </mc:Choice>
              <mc:Fallback>
                <p:oleObj name="think-cell Slide" r:id="rId6" imgW="286" imgH="28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0" y="0"/>
            <a:ext cx="8303172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 lvl="0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2 by Boston Consulting Group. All rights reserved.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D6030ED5-599F-4E8C-B5A1-51670786D0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no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B02AC1A4-4570-BB42-8F9F-FF41D97CDED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2744369"/>
            <a:ext cx="3267837" cy="7694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solidFill>
                  <a:srgbClr val="002D5F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3. Subtitle">
            <a:extLst>
              <a:ext uri="{FF2B5EF4-FFF2-40B4-BE49-F238E27FC236}">
                <a16:creationId xmlns:a16="http://schemas.microsoft.com/office/drawing/2014/main" id="{92F0B8A4-B12A-B24F-8A54-245D323CDDB1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3659644"/>
            <a:ext cx="3267836" cy="24622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600" b="0" baseline="0">
                <a:solidFill>
                  <a:srgbClr val="002C5F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45C12ADD-923C-884E-914C-986A1B7A064E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747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6088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758460" y="212329"/>
            <a:ext cx="10220324" cy="375937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lnSpc>
                <a:spcPct val="105000"/>
              </a:lnSpc>
              <a:defRPr sz="2500" baseline="0"/>
            </a:lvl1pPr>
          </a:lstStyle>
          <a:p>
            <a:r>
              <a:rPr lang="en-US"/>
              <a:t>Alternative </a:t>
            </a:r>
            <a:r>
              <a:rPr lang="en-US" err="1"/>
              <a:t>colour</a:t>
            </a:r>
            <a:r>
              <a:rPr lang="en-US"/>
              <a:t> Codes – in addition to theme </a:t>
            </a:r>
            <a:r>
              <a:rPr lang="en-US" err="1"/>
              <a:t>colours</a:t>
            </a:r>
            <a:endParaRPr lang="en-US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758460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2DE072CE-3B00-41EC-B415-3189888D00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3971" y="6592511"/>
            <a:ext cx="9144000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263F6BC-5BAE-554E-AF1F-9034D2F407BA}"/>
              </a:ext>
            </a:extLst>
          </p:cNvPr>
          <p:cNvSpPr/>
          <p:nvPr userDrawn="1"/>
        </p:nvSpPr>
        <p:spPr>
          <a:xfrm>
            <a:off x="7138252" y="2024882"/>
            <a:ext cx="1440000" cy="434567"/>
          </a:xfrm>
          <a:prstGeom prst="rect">
            <a:avLst/>
          </a:prstGeom>
          <a:solidFill>
            <a:srgbClr val="BCA66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>
                <a:solidFill>
                  <a:schemeClr val="bg1"/>
                </a:solidFill>
              </a:rPr>
              <a:t>#BBA66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EB0286A-1DF2-D046-A8F5-FA6A9ED9B713}"/>
              </a:ext>
            </a:extLst>
          </p:cNvPr>
          <p:cNvSpPr/>
          <p:nvPr userDrawn="1"/>
        </p:nvSpPr>
        <p:spPr>
          <a:xfrm>
            <a:off x="5054766" y="2024882"/>
            <a:ext cx="1440000" cy="434567"/>
          </a:xfrm>
          <a:prstGeom prst="rect">
            <a:avLst/>
          </a:prstGeom>
          <a:solidFill>
            <a:srgbClr val="008DC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0" i="0" u="none" strike="noStrike" kern="1200" baseline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#008DC9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2720352-2563-3547-A6C9-86340F8EC620}"/>
              </a:ext>
            </a:extLst>
          </p:cNvPr>
          <p:cNvSpPr/>
          <p:nvPr userDrawn="1"/>
        </p:nvSpPr>
        <p:spPr>
          <a:xfrm>
            <a:off x="2971280" y="2026955"/>
            <a:ext cx="1440000" cy="434567"/>
          </a:xfrm>
          <a:prstGeom prst="rect">
            <a:avLst/>
          </a:prstGeom>
          <a:solidFill>
            <a:srgbClr val="01ADEF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 b="0" i="0" u="none" strike="noStrike" kern="1200" baseline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#</a:t>
            </a:r>
            <a:r>
              <a:rPr lang="en-US" sz="1600" b="0" i="0" u="none" strike="noStrike" kern="1200" baseline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00AEFD</a:t>
            </a: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909EF10-6C16-3244-8DF3-025E91FC6493}"/>
              </a:ext>
            </a:extLst>
          </p:cNvPr>
          <p:cNvSpPr/>
          <p:nvPr userDrawn="1"/>
        </p:nvSpPr>
        <p:spPr>
          <a:xfrm>
            <a:off x="887794" y="2009543"/>
            <a:ext cx="1440000" cy="434567"/>
          </a:xfrm>
          <a:prstGeom prst="rect">
            <a:avLst/>
          </a:prstGeom>
          <a:solidFill>
            <a:srgbClr val="95D60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0" i="0" u="none" strike="noStrike" kern="1200" baseline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#D82138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5F46AB0-882C-A24D-8021-C3B16F320AAE}"/>
              </a:ext>
            </a:extLst>
          </p:cNvPr>
          <p:cNvSpPr/>
          <p:nvPr userDrawn="1"/>
        </p:nvSpPr>
        <p:spPr>
          <a:xfrm>
            <a:off x="9221740" y="2024882"/>
            <a:ext cx="1440000" cy="434567"/>
          </a:xfrm>
          <a:prstGeom prst="rect">
            <a:avLst/>
          </a:prstGeom>
          <a:solidFill>
            <a:srgbClr val="0A2D3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GB" sz="1600">
                <a:solidFill>
                  <a:schemeClr val="bg1"/>
                </a:solidFill>
              </a:rPr>
              <a:t>#002D5F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A925211-322A-AC42-BBA5-E9820E7E1677}"/>
              </a:ext>
            </a:extLst>
          </p:cNvPr>
          <p:cNvSpPr/>
          <p:nvPr userDrawn="1"/>
        </p:nvSpPr>
        <p:spPr>
          <a:xfrm>
            <a:off x="893508" y="5478801"/>
            <a:ext cx="2507810" cy="434567"/>
          </a:xfrm>
          <a:prstGeom prst="rect">
            <a:avLst/>
          </a:prstGeom>
          <a:solidFill>
            <a:srgbClr val="E91F5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r>
              <a:rPr lang="en-US" sz="1600" b="0" i="0" u="none" strike="noStrike" kern="1200" baseline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#E91F51</a:t>
            </a: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C9133F21-EDD7-D14D-92D9-BEF295B94E4A}"/>
              </a:ext>
            </a:extLst>
          </p:cNvPr>
          <p:cNvSpPr/>
          <p:nvPr userDrawn="1"/>
        </p:nvSpPr>
        <p:spPr>
          <a:xfrm>
            <a:off x="887794" y="2591883"/>
            <a:ext cx="1440000" cy="434567"/>
          </a:xfrm>
          <a:prstGeom prst="rect">
            <a:avLst/>
          </a:prstGeom>
          <a:solidFill>
            <a:srgbClr val="F0FAE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AE786B9-ACEA-E04B-9CFF-CBCFA1458125}"/>
              </a:ext>
            </a:extLst>
          </p:cNvPr>
          <p:cNvSpPr/>
          <p:nvPr userDrawn="1"/>
        </p:nvSpPr>
        <p:spPr>
          <a:xfrm>
            <a:off x="887794" y="3189849"/>
            <a:ext cx="1440000" cy="434567"/>
          </a:xfrm>
          <a:prstGeom prst="rect">
            <a:avLst/>
          </a:prstGeom>
          <a:solidFill>
            <a:srgbClr val="DBF1B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2D4AB2A-924D-4A41-BC57-EEFC8F2B028F}"/>
              </a:ext>
            </a:extLst>
          </p:cNvPr>
          <p:cNvSpPr/>
          <p:nvPr userDrawn="1"/>
        </p:nvSpPr>
        <p:spPr>
          <a:xfrm>
            <a:off x="887794" y="4870708"/>
            <a:ext cx="1440000" cy="434567"/>
          </a:xfrm>
          <a:prstGeom prst="rect">
            <a:avLst/>
          </a:prstGeom>
          <a:solidFill>
            <a:srgbClr val="AADF5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83945A57-07CD-7149-A493-352C1AB206C5}"/>
              </a:ext>
            </a:extLst>
          </p:cNvPr>
          <p:cNvSpPr/>
          <p:nvPr userDrawn="1"/>
        </p:nvSpPr>
        <p:spPr>
          <a:xfrm>
            <a:off x="887794" y="3750135"/>
            <a:ext cx="1440000" cy="434567"/>
          </a:xfrm>
          <a:prstGeom prst="rect">
            <a:avLst/>
          </a:prstGeom>
          <a:solidFill>
            <a:srgbClr val="C7E88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25A62A9B-72C1-8B4B-8A83-2FB3BDE33EA6}"/>
              </a:ext>
            </a:extLst>
          </p:cNvPr>
          <p:cNvSpPr/>
          <p:nvPr userDrawn="1"/>
        </p:nvSpPr>
        <p:spPr>
          <a:xfrm>
            <a:off x="909268" y="4298495"/>
            <a:ext cx="1440000" cy="434567"/>
          </a:xfrm>
          <a:prstGeom prst="rect">
            <a:avLst/>
          </a:prstGeom>
          <a:solidFill>
            <a:srgbClr val="95D602">
              <a:alpha val="69804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C146CA4-A393-3145-B7B4-8E19B1B1C75C}"/>
              </a:ext>
            </a:extLst>
          </p:cNvPr>
          <p:cNvSpPr txBox="1"/>
          <p:nvPr userDrawn="1"/>
        </p:nvSpPr>
        <p:spPr>
          <a:xfrm>
            <a:off x="812800" y="883920"/>
            <a:ext cx="0" cy="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none" lIns="0" tIns="0" rIns="0" bIns="0" rtlCol="0">
            <a:noAutofit/>
          </a:bodyPr>
          <a:lstStyle/>
          <a:p>
            <a:pPr algn="l">
              <a:spcBef>
                <a:spcPts val="300"/>
              </a:spcBef>
              <a:spcAft>
                <a:spcPts val="300"/>
              </a:spcAft>
              <a:buNone/>
            </a:pPr>
            <a:endParaRPr lang="en-GB" sz="160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C7C578D-BB3C-DA4A-A061-DC9227327E14}"/>
              </a:ext>
            </a:extLst>
          </p:cNvPr>
          <p:cNvSpPr/>
          <p:nvPr userDrawn="1"/>
        </p:nvSpPr>
        <p:spPr>
          <a:xfrm>
            <a:off x="2971280" y="2591883"/>
            <a:ext cx="1440000" cy="434567"/>
          </a:xfrm>
          <a:prstGeom prst="rect">
            <a:avLst/>
          </a:prstGeom>
          <a:solidFill>
            <a:srgbClr val="01ADEF">
              <a:alpha val="1490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E2AA2BC3-E35B-FA4A-92BA-F85EE1DF0ECE}"/>
              </a:ext>
            </a:extLst>
          </p:cNvPr>
          <p:cNvSpPr/>
          <p:nvPr userDrawn="1"/>
        </p:nvSpPr>
        <p:spPr>
          <a:xfrm>
            <a:off x="2971280" y="3189849"/>
            <a:ext cx="1440000" cy="434567"/>
          </a:xfrm>
          <a:prstGeom prst="rect">
            <a:avLst/>
          </a:prstGeom>
          <a:solidFill>
            <a:srgbClr val="01ADEF">
              <a:alpha val="34902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D8C62596-5432-754E-9DA5-A3B80685EF93}"/>
              </a:ext>
            </a:extLst>
          </p:cNvPr>
          <p:cNvSpPr/>
          <p:nvPr userDrawn="1"/>
        </p:nvSpPr>
        <p:spPr>
          <a:xfrm>
            <a:off x="2971280" y="4870708"/>
            <a:ext cx="1440000" cy="434567"/>
          </a:xfrm>
          <a:prstGeom prst="rect">
            <a:avLst/>
          </a:prstGeom>
          <a:solidFill>
            <a:srgbClr val="01ADEF">
              <a:alpha val="8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DF91E498-4EBD-864B-A093-F936BA8424D8}"/>
              </a:ext>
            </a:extLst>
          </p:cNvPr>
          <p:cNvSpPr/>
          <p:nvPr userDrawn="1"/>
        </p:nvSpPr>
        <p:spPr>
          <a:xfrm>
            <a:off x="2971280" y="3750135"/>
            <a:ext cx="1440000" cy="434567"/>
          </a:xfrm>
          <a:prstGeom prst="rect">
            <a:avLst/>
          </a:prstGeom>
          <a:solidFill>
            <a:srgbClr val="01ADEF">
              <a:alpha val="50196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F35D3BD-A697-B746-822F-6C341C0A0451}"/>
              </a:ext>
            </a:extLst>
          </p:cNvPr>
          <p:cNvSpPr/>
          <p:nvPr userDrawn="1"/>
        </p:nvSpPr>
        <p:spPr>
          <a:xfrm>
            <a:off x="2971280" y="4310421"/>
            <a:ext cx="1440000" cy="434567"/>
          </a:xfrm>
          <a:prstGeom prst="rect">
            <a:avLst/>
          </a:prstGeom>
          <a:solidFill>
            <a:srgbClr val="01ADEF">
              <a:alpha val="65098"/>
            </a:srgb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E152BBFF-8DD6-AA4F-9903-921394DB6CA3}"/>
              </a:ext>
            </a:extLst>
          </p:cNvPr>
          <p:cNvSpPr/>
          <p:nvPr userDrawn="1"/>
        </p:nvSpPr>
        <p:spPr>
          <a:xfrm>
            <a:off x="9212606" y="2591883"/>
            <a:ext cx="1440000" cy="434567"/>
          </a:xfrm>
          <a:prstGeom prst="rect">
            <a:avLst/>
          </a:prstGeom>
          <a:solidFill>
            <a:srgbClr val="DBE1E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B75899C3-A951-3F42-9CCD-5BDBAF9AD7B8}"/>
              </a:ext>
            </a:extLst>
          </p:cNvPr>
          <p:cNvSpPr/>
          <p:nvPr userDrawn="1"/>
        </p:nvSpPr>
        <p:spPr>
          <a:xfrm>
            <a:off x="9212606" y="3146304"/>
            <a:ext cx="1440000" cy="434567"/>
          </a:xfrm>
          <a:prstGeom prst="rect">
            <a:avLst/>
          </a:prstGeom>
          <a:solidFill>
            <a:srgbClr val="ABB6BB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8BCE2D7F-9E4E-9D4C-BFAC-CA93ECE509A2}"/>
              </a:ext>
            </a:extLst>
          </p:cNvPr>
          <p:cNvSpPr/>
          <p:nvPr userDrawn="1"/>
        </p:nvSpPr>
        <p:spPr>
          <a:xfrm>
            <a:off x="9212606" y="4809568"/>
            <a:ext cx="1440000" cy="434567"/>
          </a:xfrm>
          <a:prstGeom prst="rect">
            <a:avLst/>
          </a:prstGeom>
          <a:solidFill>
            <a:srgbClr val="304B5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16A6E563-3DA0-614E-AC4A-833411C3E23C}"/>
              </a:ext>
            </a:extLst>
          </p:cNvPr>
          <p:cNvSpPr/>
          <p:nvPr userDrawn="1"/>
        </p:nvSpPr>
        <p:spPr>
          <a:xfrm>
            <a:off x="9212606" y="3700725"/>
            <a:ext cx="1440000" cy="434567"/>
          </a:xfrm>
          <a:prstGeom prst="rect">
            <a:avLst/>
          </a:prstGeom>
          <a:solidFill>
            <a:srgbClr val="7A8C9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5B91188-F6D5-E141-8B89-680BCA2B200C}"/>
              </a:ext>
            </a:extLst>
          </p:cNvPr>
          <p:cNvSpPr/>
          <p:nvPr userDrawn="1"/>
        </p:nvSpPr>
        <p:spPr>
          <a:xfrm>
            <a:off x="9212606" y="4255146"/>
            <a:ext cx="1440000" cy="434567"/>
          </a:xfrm>
          <a:prstGeom prst="rect">
            <a:avLst/>
          </a:prstGeom>
          <a:solidFill>
            <a:srgbClr val="556C7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8C36593E-901E-9D4F-BD15-FDFF56C6CB99}"/>
              </a:ext>
            </a:extLst>
          </p:cNvPr>
          <p:cNvSpPr/>
          <p:nvPr userDrawn="1"/>
        </p:nvSpPr>
        <p:spPr>
          <a:xfrm>
            <a:off x="7138252" y="2591883"/>
            <a:ext cx="1440000" cy="434567"/>
          </a:xfrm>
          <a:prstGeom prst="rect">
            <a:avLst/>
          </a:prstGeom>
          <a:solidFill>
            <a:srgbClr val="F6F2E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F2231B53-12AA-1348-82DE-BBCB33803356}"/>
              </a:ext>
            </a:extLst>
          </p:cNvPr>
          <p:cNvSpPr/>
          <p:nvPr userDrawn="1"/>
        </p:nvSpPr>
        <p:spPr>
          <a:xfrm>
            <a:off x="7138252" y="3152169"/>
            <a:ext cx="1440000" cy="434567"/>
          </a:xfrm>
          <a:prstGeom prst="rect">
            <a:avLst/>
          </a:prstGeom>
          <a:solidFill>
            <a:srgbClr val="E9E0CC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151ED9B3-35C8-A649-8D04-7F0996010D33}"/>
              </a:ext>
            </a:extLst>
          </p:cNvPr>
          <p:cNvSpPr/>
          <p:nvPr userDrawn="1"/>
        </p:nvSpPr>
        <p:spPr>
          <a:xfrm>
            <a:off x="7138252" y="4833028"/>
            <a:ext cx="1440000" cy="434567"/>
          </a:xfrm>
          <a:prstGeom prst="rect">
            <a:avLst/>
          </a:prstGeom>
          <a:solidFill>
            <a:srgbClr val="C6B483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5C91735F-2189-4B4B-87B5-BFFF07B9B4CE}"/>
              </a:ext>
            </a:extLst>
          </p:cNvPr>
          <p:cNvSpPr/>
          <p:nvPr userDrawn="1"/>
        </p:nvSpPr>
        <p:spPr>
          <a:xfrm>
            <a:off x="7138252" y="3712455"/>
            <a:ext cx="1440000" cy="434567"/>
          </a:xfrm>
          <a:prstGeom prst="rect">
            <a:avLst/>
          </a:prstGeom>
          <a:solidFill>
            <a:srgbClr val="DACFB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5CBA754D-F573-454C-836D-8C4EC7255E0E}"/>
              </a:ext>
            </a:extLst>
          </p:cNvPr>
          <p:cNvSpPr/>
          <p:nvPr userDrawn="1"/>
        </p:nvSpPr>
        <p:spPr>
          <a:xfrm>
            <a:off x="7138252" y="4272741"/>
            <a:ext cx="1440000" cy="434567"/>
          </a:xfrm>
          <a:prstGeom prst="rect">
            <a:avLst/>
          </a:prstGeom>
          <a:solidFill>
            <a:srgbClr val="D0C29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ADA643F-1B98-304C-92DF-080E911444A8}"/>
              </a:ext>
            </a:extLst>
          </p:cNvPr>
          <p:cNvSpPr/>
          <p:nvPr userDrawn="1"/>
        </p:nvSpPr>
        <p:spPr>
          <a:xfrm>
            <a:off x="5054766" y="2594047"/>
            <a:ext cx="1440000" cy="434567"/>
          </a:xfrm>
          <a:prstGeom prst="rect">
            <a:avLst/>
          </a:prstGeom>
          <a:solidFill>
            <a:srgbClr val="E0EFF7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198A884A-8E79-C447-8CE8-91082AF369E6}"/>
              </a:ext>
            </a:extLst>
          </p:cNvPr>
          <p:cNvSpPr/>
          <p:nvPr userDrawn="1"/>
        </p:nvSpPr>
        <p:spPr>
          <a:xfrm>
            <a:off x="5054766" y="3163212"/>
            <a:ext cx="1440000" cy="434567"/>
          </a:xfrm>
          <a:prstGeom prst="rect">
            <a:avLst/>
          </a:prstGeom>
          <a:solidFill>
            <a:srgbClr val="B4D7E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1087E659-BFC8-B740-A1ED-6BB54832CBFB}"/>
              </a:ext>
            </a:extLst>
          </p:cNvPr>
          <p:cNvSpPr/>
          <p:nvPr userDrawn="1"/>
        </p:nvSpPr>
        <p:spPr>
          <a:xfrm>
            <a:off x="5054766" y="4870708"/>
            <a:ext cx="1440000" cy="434567"/>
          </a:xfrm>
          <a:prstGeom prst="rect">
            <a:avLst/>
          </a:prstGeom>
          <a:solidFill>
            <a:srgbClr val="3F9ED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09C8C28D-3943-7A4D-BA16-2AFF3B8320FF}"/>
              </a:ext>
            </a:extLst>
          </p:cNvPr>
          <p:cNvSpPr/>
          <p:nvPr userDrawn="1"/>
        </p:nvSpPr>
        <p:spPr>
          <a:xfrm>
            <a:off x="5054766" y="3732377"/>
            <a:ext cx="1440000" cy="434567"/>
          </a:xfrm>
          <a:prstGeom prst="rect">
            <a:avLst/>
          </a:prstGeom>
          <a:solidFill>
            <a:srgbClr val="93C7E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79079F2-F26D-3F44-BF08-A0A1F6685AE4}"/>
              </a:ext>
            </a:extLst>
          </p:cNvPr>
          <p:cNvSpPr/>
          <p:nvPr userDrawn="1"/>
        </p:nvSpPr>
        <p:spPr>
          <a:xfrm>
            <a:off x="5054766" y="4301542"/>
            <a:ext cx="1440000" cy="434567"/>
          </a:xfrm>
          <a:prstGeom prst="rect">
            <a:avLst/>
          </a:prstGeom>
          <a:solidFill>
            <a:srgbClr val="72B5DD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GB" sz="1600" b="0" i="0" u="none" strike="noStrike" kern="1200" baseline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59167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808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656320" y="0"/>
            <a:ext cx="3535680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7749540" cy="384721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7749540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6123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1E420C21-2DE9-A840-A53F-0EBCF71D6972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1AD96815-0628-E045-8648-BCDFAB3217D7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21792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0616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9194800" y="0"/>
            <a:ext cx="2997200" cy="6858000"/>
          </a:xfrm>
          <a:prstGeom prst="rect">
            <a:avLst/>
          </a:prstGeom>
          <a:solidFill>
            <a:srgbClr val="EAE2C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97613"/>
            <a:ext cx="8344254" cy="384721"/>
          </a:xfrm>
        </p:spPr>
        <p:txBody>
          <a:bodyPr vert="horz">
            <a:noAutofit/>
          </a:bodyPr>
          <a:lstStyle>
            <a:lvl1pPr>
              <a:defRPr>
                <a:solidFill>
                  <a:srgbClr val="002C5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63224"/>
            <a:ext cx="834425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u="none" baseline="0">
                <a:solidFill>
                  <a:srgbClr val="002C5F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6" y="41597"/>
            <a:ext cx="3761234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solidFill>
                  <a:srgbClr val="082E3B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A3BEE9D9-3E49-40F7-BDCF-A92122E0A43C}"/>
              </a:ext>
            </a:extLst>
          </p:cNvPr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553971" y="6592511"/>
            <a:ext cx="791870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Source: …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6B608FA-8CD5-1043-B062-E4985C993A7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C6804EE5-2900-7C49-9EFC-1DDDEBDAE112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6553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2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7.xml"/><Relationship Id="rId42" Type="http://schemas.openxmlformats.org/officeDocument/2006/relationships/tags" Target="../tags/tag15.xml"/><Relationship Id="rId47" Type="http://schemas.openxmlformats.org/officeDocument/2006/relationships/tags" Target="../tags/tag20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2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5.xml"/><Relationship Id="rId37" Type="http://schemas.openxmlformats.org/officeDocument/2006/relationships/tags" Target="../tags/tag10.xml"/><Relationship Id="rId40" Type="http://schemas.openxmlformats.org/officeDocument/2006/relationships/tags" Target="../tags/tag13.xml"/><Relationship Id="rId45" Type="http://schemas.openxmlformats.org/officeDocument/2006/relationships/tags" Target="../tags/tag18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36" Type="http://schemas.openxmlformats.org/officeDocument/2006/relationships/tags" Target="../tags/tag9.xml"/><Relationship Id="rId49" Type="http://schemas.openxmlformats.org/officeDocument/2006/relationships/tags" Target="../tags/tag2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4.xml"/><Relationship Id="rId44" Type="http://schemas.openxmlformats.org/officeDocument/2006/relationships/tags" Target="../tags/tag1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3.xml"/><Relationship Id="rId35" Type="http://schemas.openxmlformats.org/officeDocument/2006/relationships/tags" Target="../tags/tag8.xml"/><Relationship Id="rId43" Type="http://schemas.openxmlformats.org/officeDocument/2006/relationships/tags" Target="../tags/tag16.xml"/><Relationship Id="rId48" Type="http://schemas.openxmlformats.org/officeDocument/2006/relationships/tags" Target="../tags/tag21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6.xml"/><Relationship Id="rId38" Type="http://schemas.openxmlformats.org/officeDocument/2006/relationships/tags" Target="../tags/tag11.xml"/><Relationship Id="rId46" Type="http://schemas.openxmlformats.org/officeDocument/2006/relationships/tags" Target="../tags/tag19.xml"/><Relationship Id="rId20" Type="http://schemas.openxmlformats.org/officeDocument/2006/relationships/slideLayout" Target="../slideLayouts/slideLayout20.xml"/><Relationship Id="rId41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heme" Target="../theme/theme2.xml"/><Relationship Id="rId39" Type="http://schemas.openxmlformats.org/officeDocument/2006/relationships/tags" Target="../tags/tag203.xml"/><Relationship Id="rId21" Type="http://schemas.openxmlformats.org/officeDocument/2006/relationships/slideLayout" Target="../slideLayouts/slideLayout47.xml"/><Relationship Id="rId34" Type="http://schemas.openxmlformats.org/officeDocument/2006/relationships/tags" Target="../tags/tag198.xml"/><Relationship Id="rId42" Type="http://schemas.openxmlformats.org/officeDocument/2006/relationships/tags" Target="../tags/tag206.xml"/><Relationship Id="rId47" Type="http://schemas.openxmlformats.org/officeDocument/2006/relationships/tags" Target="../tags/tag211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9" Type="http://schemas.openxmlformats.org/officeDocument/2006/relationships/tags" Target="../tags/tag193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tags" Target="../tags/tag196.xml"/><Relationship Id="rId37" Type="http://schemas.openxmlformats.org/officeDocument/2006/relationships/tags" Target="../tags/tag201.xml"/><Relationship Id="rId40" Type="http://schemas.openxmlformats.org/officeDocument/2006/relationships/tags" Target="../tags/tag204.xml"/><Relationship Id="rId45" Type="http://schemas.openxmlformats.org/officeDocument/2006/relationships/tags" Target="../tags/tag209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ags" Target="../tags/tag192.xml"/><Relationship Id="rId36" Type="http://schemas.openxmlformats.org/officeDocument/2006/relationships/tags" Target="../tags/tag200.xml"/><Relationship Id="rId49" Type="http://schemas.openxmlformats.org/officeDocument/2006/relationships/oleObject" Target="../embeddings/oleObject27.bin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tags" Target="../tags/tag195.xml"/><Relationship Id="rId44" Type="http://schemas.openxmlformats.org/officeDocument/2006/relationships/tags" Target="../tags/tag208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ags" Target="../tags/tag191.xml"/><Relationship Id="rId30" Type="http://schemas.openxmlformats.org/officeDocument/2006/relationships/tags" Target="../tags/tag194.xml"/><Relationship Id="rId35" Type="http://schemas.openxmlformats.org/officeDocument/2006/relationships/tags" Target="../tags/tag199.xml"/><Relationship Id="rId43" Type="http://schemas.openxmlformats.org/officeDocument/2006/relationships/tags" Target="../tags/tag207.xml"/><Relationship Id="rId48" Type="http://schemas.openxmlformats.org/officeDocument/2006/relationships/tags" Target="../tags/tag212.xml"/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tags" Target="../tags/tag197.xml"/><Relationship Id="rId38" Type="http://schemas.openxmlformats.org/officeDocument/2006/relationships/tags" Target="../tags/tag202.xml"/><Relationship Id="rId46" Type="http://schemas.openxmlformats.org/officeDocument/2006/relationships/tags" Target="../tags/tag210.xml"/><Relationship Id="rId20" Type="http://schemas.openxmlformats.org/officeDocument/2006/relationships/slideLayout" Target="../slideLayouts/slideLayout46.xml"/><Relationship Id="rId41" Type="http://schemas.openxmlformats.org/officeDocument/2006/relationships/tags" Target="../tags/tag20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tags" Target="../tags/tag382.xml"/><Relationship Id="rId39" Type="http://schemas.openxmlformats.org/officeDocument/2006/relationships/tags" Target="../tags/tag395.xml"/><Relationship Id="rId21" Type="http://schemas.openxmlformats.org/officeDocument/2006/relationships/slideLayout" Target="../slideLayouts/slideLayout72.xml"/><Relationship Id="rId34" Type="http://schemas.openxmlformats.org/officeDocument/2006/relationships/tags" Target="../tags/tag390.xml"/><Relationship Id="rId42" Type="http://schemas.openxmlformats.org/officeDocument/2006/relationships/tags" Target="../tags/tag398.xml"/><Relationship Id="rId47" Type="http://schemas.openxmlformats.org/officeDocument/2006/relationships/oleObject" Target="../embeddings/oleObject53.bin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9" Type="http://schemas.openxmlformats.org/officeDocument/2006/relationships/tags" Target="../tags/tag385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theme" Target="../theme/theme3.xml"/><Relationship Id="rId32" Type="http://schemas.openxmlformats.org/officeDocument/2006/relationships/tags" Target="../tags/tag388.xml"/><Relationship Id="rId37" Type="http://schemas.openxmlformats.org/officeDocument/2006/relationships/tags" Target="../tags/tag393.xml"/><Relationship Id="rId40" Type="http://schemas.openxmlformats.org/officeDocument/2006/relationships/tags" Target="../tags/tag396.xml"/><Relationship Id="rId45" Type="http://schemas.openxmlformats.org/officeDocument/2006/relationships/tags" Target="../tags/tag401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slideLayout" Target="../slideLayouts/slideLayout74.xml"/><Relationship Id="rId28" Type="http://schemas.openxmlformats.org/officeDocument/2006/relationships/tags" Target="../tags/tag384.xml"/><Relationship Id="rId36" Type="http://schemas.openxmlformats.org/officeDocument/2006/relationships/tags" Target="../tags/tag392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31" Type="http://schemas.openxmlformats.org/officeDocument/2006/relationships/tags" Target="../tags/tag387.xml"/><Relationship Id="rId44" Type="http://schemas.openxmlformats.org/officeDocument/2006/relationships/tags" Target="../tags/tag40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slideLayout" Target="../slideLayouts/slideLayout73.xml"/><Relationship Id="rId27" Type="http://schemas.openxmlformats.org/officeDocument/2006/relationships/tags" Target="../tags/tag383.xml"/><Relationship Id="rId30" Type="http://schemas.openxmlformats.org/officeDocument/2006/relationships/tags" Target="../tags/tag386.xml"/><Relationship Id="rId35" Type="http://schemas.openxmlformats.org/officeDocument/2006/relationships/tags" Target="../tags/tag391.xml"/><Relationship Id="rId43" Type="http://schemas.openxmlformats.org/officeDocument/2006/relationships/tags" Target="../tags/tag399.xml"/><Relationship Id="rId48" Type="http://schemas.openxmlformats.org/officeDocument/2006/relationships/image" Target="../media/image1.emf"/><Relationship Id="rId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tags" Target="../tags/tag381.xml"/><Relationship Id="rId33" Type="http://schemas.openxmlformats.org/officeDocument/2006/relationships/tags" Target="../tags/tag389.xml"/><Relationship Id="rId38" Type="http://schemas.openxmlformats.org/officeDocument/2006/relationships/tags" Target="../tags/tag394.xml"/><Relationship Id="rId46" Type="http://schemas.openxmlformats.org/officeDocument/2006/relationships/tags" Target="../tags/tag402.xml"/><Relationship Id="rId20" Type="http://schemas.openxmlformats.org/officeDocument/2006/relationships/slideLayout" Target="../slideLayouts/slideLayout71.xml"/><Relationship Id="rId41" Type="http://schemas.openxmlformats.org/officeDocument/2006/relationships/tags" Target="../tags/tag3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2304623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0" imgW="413" imgH="416" progId="TCLayout.ActiveDocument.1">
                  <p:embed/>
                </p:oleObj>
              </mc:Choice>
              <mc:Fallback>
                <p:oleObj name="think-cell Slide" r:id="rId5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553972" y="6278400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>
          <a:xfrm>
            <a:off x="554736" y="197613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3235"/>
              <a:ext cx="11082528" cy="4824685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90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7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32"/>
            </p:custDataLst>
          </p:nvPr>
        </p:nvSpPr>
        <p:spPr>
          <a:xfrm>
            <a:off x="5987738" y="1872797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  <a:br>
              <a:rPr lang="en-US"/>
            </a:br>
            <a:r>
              <a:rPr lang="en-US" sz="14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872797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02554E5-F124-4BE6-A938-5466B27EEA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CEE6DB68-2DAA-4E75-A4FB-B516116DB3C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754DDF-C63C-4248-AC3D-45C182524B5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89886DF4-DD3E-43D5-9864-2A2BC0616D1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5B110060-5E69-4634-973F-ED6AF02A8B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A5842F53-F9C3-4E5A-9778-7B4054EBD6F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72EA63FA-FE11-4A99-A68C-855D137252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95EF70E-BD62-4CF1-994F-3618D22DBDD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D795E26E-87CE-4D50-B9D8-767FFAEC9672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908F05FD-ED3E-4BF0-8391-02CD4F90050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39906D3E-93D3-4FD5-AB5F-0C22E3781CA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35D69CAE-F33C-476C-B254-909EA95E89F9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09D790D-7056-424F-A8DA-5C868D0B35E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259D1037-7873-4435-BBB9-6E249A6F2976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6ED72A14-997E-43A1-8277-64E43B8C35F3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9B15371-13C6-4FC5-A65B-0EDE237980EC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5B25FABC-A1CB-4179-93E5-2B0E2705BFF1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E5B7F2A-8FB0-41B4-8C1B-EA8A313794A0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D743921E-6D1E-4571-B683-6DAA333BDEC0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EFE8AD28-8704-4A66-90FB-0D38F38CA97A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9FF5ED0A-DB5E-486D-948E-C524BDCBA3FF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03D44525-7618-42C3-A26B-9CC5DF2D2566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5A294A2-58B5-4E0F-A069-8841C3D7E9E3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32E0E44-FAA6-4DC8-BBFA-E67911DFBAD7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E447D4-D1F3-48FC-A5DF-CC5107A778A6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DC9BA04-93EE-4E6C-A59A-D77D8E3E66EF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99225C-33E4-450B-9E02-9EAE6097820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044D8867-620D-4691-A0DD-79E16FC985B3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0E654AE-5F79-4BF0-8FB5-7F13C251CAAD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DA215AB-9F91-423A-93B2-0C935900AD9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E73033B1-9970-4145-B36A-4ADB5EA17FD3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BF00C76-B394-4C0D-B57E-83F32D114FA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30948E3-0246-4F0C-B58A-498D999088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D801A43-CDAA-4DE6-95F8-A05BCF4CDA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1A78357B-86E2-4C37-8D1D-92F48BB78A9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85737C2C-6F82-42F9-8CBB-E747145B866E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A03EBFC-AC29-4924-8142-8B62E83E58D0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F950371F-39A1-4467-977F-0ED0F9F75DF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95AA835-DC23-4AEB-914C-A6D459337EA1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3. Subtitle">
            <a:extLst>
              <a:ext uri="{FF2B5EF4-FFF2-40B4-BE49-F238E27FC236}">
                <a16:creationId xmlns:a16="http://schemas.microsoft.com/office/drawing/2014/main" id="{7B14E5AB-DC67-ED42-B2F0-BCAEB0B0A5D6}"/>
              </a:ext>
            </a:extLst>
          </p:cNvPr>
          <p:cNvSpPr txBox="1">
            <a:spLocks/>
          </p:cNvSpPr>
          <p:nvPr userDrawn="1">
            <p:custDataLst>
              <p:tags r:id="rId33"/>
            </p:custDataLst>
          </p:nvPr>
        </p:nvSpPr>
        <p:spPr>
          <a:xfrm>
            <a:off x="554736" y="663224"/>
            <a:ext cx="110825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  <a:defRPr lang="en-US" sz="1600" b="0" u="none" kern="1200" baseline="0">
                <a:solidFill>
                  <a:srgbClr val="002C5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None/>
              <a:defRPr lang="en-US" sz="2000" kern="120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lang="en-US" sz="1800" kern="120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2" name="Slide Number">
            <a:extLst>
              <a:ext uri="{FF2B5EF4-FFF2-40B4-BE49-F238E27FC236}">
                <a16:creationId xmlns:a16="http://schemas.microsoft.com/office/drawing/2014/main" id="{26277347-D136-264B-B301-CC814D593BED}"/>
              </a:ext>
            </a:extLst>
          </p:cNvPr>
          <p:cNvSpPr>
            <a:spLocks noChangeArrowheads="1"/>
          </p:cNvSpPr>
          <p:nvPr userDrawn="1">
            <p:custDataLst>
              <p:tags r:id="rId34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Text Placeholder 4">
            <a:extLst>
              <a:ext uri="{FF2B5EF4-FFF2-40B4-BE49-F238E27FC236}">
                <a16:creationId xmlns:a16="http://schemas.microsoft.com/office/drawing/2014/main" id="{9A05F9B4-0979-6B44-AD35-83EA521C92CA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864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736" r:id="rId2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rgbClr val="002D5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rgbClr val="002D5F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rgbClr val="002D5F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rgbClr val="002D5F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rgbClr val="002D5F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rgbClr val="002D5F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304623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413" imgH="416" progId="TCLayout.ActiveDocument.1">
                  <p:embed/>
                </p:oleObj>
              </mc:Choice>
              <mc:Fallback>
                <p:oleObj name="think-cell Slide" r:id="rId4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53972" y="6278400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554736" y="197613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3235"/>
              <a:ext cx="11082528" cy="4824685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90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7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31"/>
            </p:custDataLst>
          </p:nvPr>
        </p:nvSpPr>
        <p:spPr>
          <a:xfrm>
            <a:off x="5987738" y="1872797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dirty="0"/>
              <a:t>Above Chart Exhibit Title</a:t>
            </a:r>
            <a:br>
              <a:rPr lang="en-US" dirty="0"/>
            </a:br>
            <a:r>
              <a:rPr lang="en-US" sz="1400" b="0" dirty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872797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02554E5-F124-4BE6-A938-5466B27EEA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CEE6DB68-2DAA-4E75-A4FB-B516116DB3C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754DDF-C63C-4248-AC3D-45C182524B5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89886DF4-DD3E-43D5-9864-2A2BC0616D1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5B110060-5E69-4634-973F-ED6AF02A8B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A5842F53-F9C3-4E5A-9778-7B4054EBD6F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72EA63FA-FE11-4A99-A68C-855D137252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95EF70E-BD62-4CF1-994F-3618D22DBDD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D795E26E-87CE-4D50-B9D8-767FFAEC9672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908F05FD-ED3E-4BF0-8391-02CD4F90050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39906D3E-93D3-4FD5-AB5F-0C22E3781CA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35D69CAE-F33C-476C-B254-909EA95E89F9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09D790D-7056-424F-A8DA-5C868D0B35E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259D1037-7873-4435-BBB9-6E249A6F2976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6ED72A14-997E-43A1-8277-64E43B8C35F3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9B15371-13C6-4FC5-A65B-0EDE237980EC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5B25FABC-A1CB-4179-93E5-2B0E2705BFF1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E5B7F2A-8FB0-41B4-8C1B-EA8A313794A0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D743921E-6D1E-4571-B683-6DAA333BDEC0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EFE8AD28-8704-4A66-90FB-0D38F38CA97A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9FF5ED0A-DB5E-486D-948E-C524BDCBA3FF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03D44525-7618-42C3-A26B-9CC5DF2D2566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5A294A2-58B5-4E0F-A069-8841C3D7E9E3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32E0E44-FAA6-4DC8-BBFA-E67911DFBAD7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E447D4-D1F3-48FC-A5DF-CC5107A778A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DC9BA04-93EE-4E6C-A59A-D77D8E3E66EF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99225C-33E4-450B-9E02-9EAE6097820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044D8867-620D-4691-A0DD-79E16FC985B3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0E654AE-5F79-4BF0-8FB5-7F13C251CAAD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DA215AB-9F91-423A-93B2-0C935900AD9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E73033B1-9970-4145-B36A-4ADB5EA17FD3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BF00C76-B394-4C0D-B57E-83F32D114FA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30948E3-0246-4F0C-B58A-498D999088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D801A43-CDAA-4DE6-95F8-A05BCF4CDA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1A78357B-86E2-4C37-8D1D-92F48BB78A9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85737C2C-6F82-42F9-8CBB-E747145B866E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A03EBFC-AC29-4924-8142-8B62E83E58D0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F950371F-39A1-4467-977F-0ED0F9F75DF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95AA835-DC23-4AEB-914C-A6D459337EA1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3. Subtitle">
            <a:extLst>
              <a:ext uri="{FF2B5EF4-FFF2-40B4-BE49-F238E27FC236}">
                <a16:creationId xmlns:a16="http://schemas.microsoft.com/office/drawing/2014/main" id="{7B14E5AB-DC67-ED42-B2F0-BCAEB0B0A5D6}"/>
              </a:ext>
            </a:extLst>
          </p:cNvPr>
          <p:cNvSpPr txBox="1">
            <a:spLocks/>
          </p:cNvSpPr>
          <p:nvPr userDrawn="1">
            <p:custDataLst>
              <p:tags r:id="rId32"/>
            </p:custDataLst>
          </p:nvPr>
        </p:nvSpPr>
        <p:spPr>
          <a:xfrm>
            <a:off x="554736" y="663224"/>
            <a:ext cx="110825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  <a:defRPr lang="en-US" sz="1600" b="0" u="none" kern="1200" baseline="0">
                <a:solidFill>
                  <a:srgbClr val="002C5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None/>
              <a:defRPr lang="en-US" sz="2000" kern="120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lang="en-US" sz="1800" kern="120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GB" dirty="0"/>
              <a:t>Click to edit Master subtitle style</a:t>
            </a:r>
          </a:p>
        </p:txBody>
      </p:sp>
      <p:sp>
        <p:nvSpPr>
          <p:cNvPr id="152" name="Slide Number">
            <a:extLst>
              <a:ext uri="{FF2B5EF4-FFF2-40B4-BE49-F238E27FC236}">
                <a16:creationId xmlns:a16="http://schemas.microsoft.com/office/drawing/2014/main" id="{26277347-D136-264B-B301-CC814D593BED}"/>
              </a:ext>
            </a:extLst>
          </p:cNvPr>
          <p:cNvSpPr>
            <a:spLocks noChangeArrowheads="1"/>
          </p:cNvSpPr>
          <p:nvPr userDrawn="1">
            <p:custDataLst>
              <p:tags r:id="rId33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 dirty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Text Placeholder 4">
            <a:extLst>
              <a:ext uri="{FF2B5EF4-FFF2-40B4-BE49-F238E27FC236}">
                <a16:creationId xmlns:a16="http://schemas.microsoft.com/office/drawing/2014/main" id="{9A05F9B4-0979-6B44-AD35-83EA521C92CA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 dirty="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415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  <p:sldLayoutId id="2147483706" r:id="rId20"/>
    <p:sldLayoutId id="2147483707" r:id="rId21"/>
    <p:sldLayoutId id="2147483708" r:id="rId22"/>
    <p:sldLayoutId id="2147483709" r:id="rId23"/>
    <p:sldLayoutId id="2147483710" r:id="rId24"/>
    <p:sldLayoutId id="2147483711" r:id="rId25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rgbClr val="002D5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rgbClr val="002D5F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rgbClr val="002D5F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rgbClr val="002D5F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rgbClr val="002D5F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rgbClr val="002D5F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304623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413" imgH="416" progId="TCLayout.ActiveDocument.1">
                  <p:embed/>
                </p:oleObj>
              </mc:Choice>
              <mc:Fallback>
                <p:oleObj name="think-cell Slide" r:id="rId4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53972" y="6278400"/>
            <a:ext cx="9144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197613"/>
            <a:ext cx="11082528" cy="3847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393235"/>
              <a:ext cx="11082528" cy="4824685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186537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39903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026807"/>
            <a:ext cx="450444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5987738" y="1872797"/>
            <a:ext cx="3049253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/>
              <a:t>Above Chart Exhibit Title</a:t>
            </a:r>
            <a:br>
              <a:rPr lang="en-US"/>
            </a:br>
            <a:r>
              <a:rPr lang="en-US" sz="1400" b="0"/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1872797"/>
            <a:ext cx="2484655" cy="16312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002554E5-F124-4BE6-A938-5466B27EEA82}"/>
              </a:ext>
            </a:extLst>
          </p:cNvPr>
          <p:cNvGrpSpPr/>
          <p:nvPr userDrawn="1"/>
        </p:nvGrpSpPr>
        <p:grpSpPr>
          <a:xfrm>
            <a:off x="10317304" y="3150223"/>
            <a:ext cx="1319960" cy="958286"/>
            <a:chOff x="10162879" y="3243772"/>
            <a:chExt cx="1319960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CEE6DB68-2DAA-4E75-A4FB-B516116DB3CA}"/>
                </a:ext>
              </a:extLst>
            </p:cNvPr>
            <p:cNvSpPr txBox="1"/>
            <p:nvPr/>
          </p:nvSpPr>
          <p:spPr>
            <a:xfrm>
              <a:off x="10886522" y="324377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97754DDF-C63C-4248-AC3D-45C182524B57}"/>
                </a:ext>
              </a:extLst>
            </p:cNvPr>
            <p:cNvSpPr txBox="1"/>
            <p:nvPr/>
          </p:nvSpPr>
          <p:spPr>
            <a:xfrm>
              <a:off x="10886522" y="3615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89886DF4-DD3E-43D5-9864-2A2BC0616D1C}"/>
                </a:ext>
              </a:extLst>
            </p:cNvPr>
            <p:cNvSpPr txBox="1"/>
            <p:nvPr/>
          </p:nvSpPr>
          <p:spPr>
            <a:xfrm>
              <a:off x="10886522" y="398661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5B110060-5E69-4634-973F-ED6AF02A8B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A5842F53-F9C3-4E5A-9778-7B4054EBD6F0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72EA63FA-FE11-4A99-A68C-855D137252E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t"/>
            <a:lstStyle/>
            <a:p>
              <a:endParaRPr lang="en-US" sz="1400" baseline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F95EF70E-BD62-4CF1-994F-3618D22DBDD8}"/>
              </a:ext>
            </a:extLst>
          </p:cNvPr>
          <p:cNvGrpSpPr/>
          <p:nvPr userDrawn="1"/>
        </p:nvGrpSpPr>
        <p:grpSpPr>
          <a:xfrm>
            <a:off x="10688315" y="1145373"/>
            <a:ext cx="948949" cy="1731859"/>
            <a:chOff x="7723680" y="1702457"/>
            <a:chExt cx="948949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D795E26E-87CE-4D50-B9D8-767FFAEC9672}"/>
                </a:ext>
              </a:extLst>
            </p:cNvPr>
            <p:cNvSpPr txBox="1"/>
            <p:nvPr/>
          </p:nvSpPr>
          <p:spPr>
            <a:xfrm>
              <a:off x="8076312" y="1709816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908F05FD-ED3E-4BF0-8391-02CD4F900501}"/>
                </a:ext>
              </a:extLst>
            </p:cNvPr>
            <p:cNvSpPr txBox="1"/>
            <p:nvPr/>
          </p:nvSpPr>
          <p:spPr>
            <a:xfrm>
              <a:off x="8076312" y="2085275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39906D3E-93D3-4FD5-AB5F-0C22E3781CAB}"/>
                </a:ext>
              </a:extLst>
            </p:cNvPr>
            <p:cNvSpPr txBox="1"/>
            <p:nvPr/>
          </p:nvSpPr>
          <p:spPr>
            <a:xfrm>
              <a:off x="8076312" y="246073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35D69CAE-F33C-476C-B254-909EA95E89F9}"/>
                </a:ext>
              </a:extLst>
            </p:cNvPr>
            <p:cNvSpPr txBox="1"/>
            <p:nvPr/>
          </p:nvSpPr>
          <p:spPr>
            <a:xfrm>
              <a:off x="8076312" y="2836193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E09D790D-7056-424F-A8DA-5C868D0B35EE}"/>
                </a:ext>
              </a:extLst>
            </p:cNvPr>
            <p:cNvSpPr txBox="1"/>
            <p:nvPr/>
          </p:nvSpPr>
          <p:spPr>
            <a:xfrm>
              <a:off x="8076312" y="321165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259D1037-7873-4435-BBB9-6E249A6F2976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6ED72A14-997E-43A1-8277-64E43B8C35F3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F9B15371-13C6-4FC5-A65B-0EDE237980EC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5B25FABC-A1CB-4179-93E5-2B0E2705BFF1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DE5B7F2A-8FB0-41B4-8C1B-EA8A313794A0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D743921E-6D1E-4571-B683-6DAA333BDEC0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EFE8AD28-8704-4A66-90FB-0D38F38CA97A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9FF5ED0A-DB5E-486D-948E-C524BDCBA3F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03D44525-7618-42C3-A26B-9CC5DF2D256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A5A294A2-58B5-4E0F-A069-8841C3D7E9E3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132E0E44-FAA6-4DC8-BBFA-E67911DFBAD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4EE447D4-D1F3-48FC-A5DF-CC5107A778A6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8DC9BA04-93EE-4E6C-A59A-D77D8E3E66EF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EE99225C-33E4-450B-9E02-9EAE60978205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/>
                <a:endParaRPr lang="en-US" sz="140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044D8867-620D-4691-A0DD-79E16FC985B3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t"/>
              <a:lstStyle/>
              <a:p>
                <a:pPr algn="ctr"/>
                <a:endParaRPr lang="en-US" sz="140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A0E654AE-5F79-4BF0-8FB5-7F13C251CAAD}"/>
              </a:ext>
            </a:extLst>
          </p:cNvPr>
          <p:cNvGrpSpPr/>
          <p:nvPr userDrawn="1"/>
        </p:nvGrpSpPr>
        <p:grpSpPr>
          <a:xfrm>
            <a:off x="10714801" y="4381500"/>
            <a:ext cx="922463" cy="1717282"/>
            <a:chOff x="10652400" y="4322824"/>
            <a:chExt cx="922463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9DA215AB-9F91-423A-93B2-0C935900AD9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E73033B1-9970-4145-B36A-4ADB5EA17FD3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BF00C76-B394-4C0D-B57E-83F32D114FAC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30948E3-0246-4F0C-B58A-498D999088C1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CD801A43-CDAA-4DE6-95F8-A05BCF4CDA7C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1A78357B-86E2-4C37-8D1D-92F48BB78A96}"/>
                </a:ext>
              </a:extLst>
            </p:cNvPr>
            <p:cNvSpPr txBox="1"/>
            <p:nvPr/>
          </p:nvSpPr>
          <p:spPr>
            <a:xfrm>
              <a:off x="10978546" y="4322824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85737C2C-6F82-42F9-8CBB-E747145B866E}"/>
                </a:ext>
              </a:extLst>
            </p:cNvPr>
            <p:cNvSpPr txBox="1"/>
            <p:nvPr/>
          </p:nvSpPr>
          <p:spPr>
            <a:xfrm>
              <a:off x="10978546" y="470232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2A03EBFC-AC29-4924-8142-8B62E83E58D0}"/>
                </a:ext>
              </a:extLst>
            </p:cNvPr>
            <p:cNvSpPr txBox="1"/>
            <p:nvPr/>
          </p:nvSpPr>
          <p:spPr>
            <a:xfrm>
              <a:off x="10978546" y="5081820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F950371F-39A1-4467-977F-0ED0F9F75DF4}"/>
                </a:ext>
              </a:extLst>
            </p:cNvPr>
            <p:cNvSpPr txBox="1"/>
            <p:nvPr/>
          </p:nvSpPr>
          <p:spPr>
            <a:xfrm>
              <a:off x="10978546" y="5453241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E95AA835-DC23-4AEB-914C-A6D459337EA1}"/>
                </a:ext>
              </a:extLst>
            </p:cNvPr>
            <p:cNvSpPr txBox="1"/>
            <p:nvPr/>
          </p:nvSpPr>
          <p:spPr>
            <a:xfrm>
              <a:off x="10978545" y="5824662"/>
              <a:ext cx="596317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t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/>
                <a:t>Legend</a:t>
              </a:r>
            </a:p>
          </p:txBody>
        </p:sp>
      </p:grpSp>
      <p:cxnSp>
        <p:nvCxnSpPr>
          <p:cNvPr id="149" name="Straight Connector 148">
            <a:extLst>
              <a:ext uri="{FF2B5EF4-FFF2-40B4-BE49-F238E27FC236}">
                <a16:creationId xmlns:a16="http://schemas.microsoft.com/office/drawing/2014/main" id="{CF962E25-52A0-4B53-86F8-9B97218918E7}"/>
              </a:ext>
            </a:extLst>
          </p:cNvPr>
          <p:cNvCxnSpPr>
            <a:cxnSpLocks/>
          </p:cNvCxnSpPr>
          <p:nvPr userDrawn="1"/>
        </p:nvCxnSpPr>
        <p:spPr bwMode="ltGray">
          <a:xfrm>
            <a:off x="554736" y="6450133"/>
            <a:ext cx="11082528" cy="0"/>
          </a:xfrm>
          <a:prstGeom prst="line">
            <a:avLst/>
          </a:prstGeom>
          <a:ln w="19050" cap="flat">
            <a:solidFill>
              <a:schemeClr val="accent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3. Subtitle">
            <a:extLst>
              <a:ext uri="{FF2B5EF4-FFF2-40B4-BE49-F238E27FC236}">
                <a16:creationId xmlns:a16="http://schemas.microsoft.com/office/drawing/2014/main" id="{7B14E5AB-DC67-ED42-B2F0-BCAEB0B0A5D6}"/>
              </a:ext>
            </a:extLst>
          </p:cNvPr>
          <p:cNvSpPr txBox="1">
            <a:spLocks/>
          </p:cNvSpPr>
          <p:nvPr userDrawn="1">
            <p:custDataLst>
              <p:tags r:id="rId30"/>
            </p:custDataLst>
          </p:nvPr>
        </p:nvSpPr>
        <p:spPr>
          <a:xfrm>
            <a:off x="554736" y="663224"/>
            <a:ext cx="11082527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  <a:defRPr lang="en-US" sz="1600" b="0" u="none" kern="1200" baseline="0">
                <a:solidFill>
                  <a:srgbClr val="002C5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None/>
              <a:defRPr lang="en-US" sz="2000" kern="120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None/>
              <a:defRPr lang="en-US" sz="1800" kern="120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None/>
              <a:defRPr lang="en-US" sz="1600" kern="120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27432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365760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152" name="Slide Number">
            <a:extLst>
              <a:ext uri="{FF2B5EF4-FFF2-40B4-BE49-F238E27FC236}">
                <a16:creationId xmlns:a16="http://schemas.microsoft.com/office/drawing/2014/main" id="{26277347-D136-264B-B301-CC814D593BED}"/>
              </a:ext>
            </a:extLst>
          </p:cNvPr>
          <p:cNvSpPr>
            <a:spLocks noChangeArrowheads="1"/>
          </p:cNvSpPr>
          <p:nvPr userDrawn="1">
            <p:custDataLst>
              <p:tags r:id="rId31"/>
            </p:custDataLst>
          </p:nvPr>
        </p:nvSpPr>
        <p:spPr bwMode="black">
          <a:xfrm>
            <a:off x="11312525" y="6584817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b="0" smtClean="0">
                <a:solidFill>
                  <a:srgbClr val="002B5F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b="0">
              <a:solidFill>
                <a:srgbClr val="002B5F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53" name="Text Placeholder 4">
            <a:extLst>
              <a:ext uri="{FF2B5EF4-FFF2-40B4-BE49-F238E27FC236}">
                <a16:creationId xmlns:a16="http://schemas.microsoft.com/office/drawing/2014/main" id="{9A05F9B4-0979-6B44-AD35-83EA521C92CA}"/>
              </a:ext>
            </a:extLst>
          </p:cNvPr>
          <p:cNvSpPr txBox="1">
            <a:spLocks/>
          </p:cNvSpPr>
          <p:nvPr userDrawn="1"/>
        </p:nvSpPr>
        <p:spPr>
          <a:xfrm>
            <a:off x="8898990" y="6579535"/>
            <a:ext cx="2484655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r"/>
            <a:r>
              <a:rPr lang="en-US" sz="900" b="0" i="0" kern="1200">
                <a:solidFill>
                  <a:schemeClr val="accent1"/>
                </a:solidFill>
                <a:effectLst/>
                <a:latin typeface="+mn-lt"/>
                <a:ea typeface="+mn-ea"/>
                <a:cs typeface="Arial" panose="020B0604020202020204" pitchFamily="34" charset="0"/>
              </a:rPr>
              <a:t>COVID-19 Vaccine Delivery Partnership</a:t>
            </a:r>
            <a:endParaRPr lang="en-GB" sz="90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13036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</p:sldLayoutIdLst>
  <p:hf sldNum="0"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500" b="1" kern="1200" spc="0" baseline="0" dirty="0">
          <a:ln w="6350" cap="flat">
            <a:noFill/>
            <a:miter lim="800000"/>
          </a:ln>
          <a:solidFill>
            <a:srgbClr val="002D5F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rgbClr val="002D5F"/>
          </a:solidFill>
          <a:latin typeface="+mn-lt"/>
          <a:ea typeface="+mn-ea"/>
          <a:cs typeface="Arial" panose="020B0604020202020204" pitchFamily="34" charset="0"/>
        </a:defRPr>
      </a:lvl1pPr>
      <a:lvl2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600" kern="1200" dirty="0">
          <a:solidFill>
            <a:srgbClr val="002D5F"/>
          </a:solidFill>
          <a:latin typeface="+mn-lt"/>
          <a:ea typeface="+mn-ea"/>
          <a:cs typeface="+mn-cs"/>
        </a:defRPr>
      </a:lvl2pPr>
      <a:lvl3pPr marL="438912" indent="-210312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600" kern="1200" dirty="0">
          <a:solidFill>
            <a:srgbClr val="002D5F"/>
          </a:solidFill>
          <a:latin typeface="+mn-lt"/>
          <a:ea typeface="+mn-ea"/>
          <a:cs typeface="+mn-cs"/>
        </a:defRPr>
      </a:lvl3pPr>
      <a:lvl4pPr marL="594360" indent="-15544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rgbClr val="002D5F"/>
          </a:solidFill>
          <a:latin typeface="+mn-lt"/>
          <a:ea typeface="+mn-ea"/>
          <a:cs typeface="+mn-cs"/>
        </a:defRPr>
      </a:lvl4pPr>
      <a:lvl5pPr marL="813816" indent="-146304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rgbClr val="002D5F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0.xml"/><Relationship Id="rId3" Type="http://schemas.openxmlformats.org/officeDocument/2006/relationships/diagramLayout" Target="../diagrams/layout9.xml"/><Relationship Id="rId7" Type="http://schemas.openxmlformats.org/officeDocument/2006/relationships/diagramData" Target="../diagrams/data10.xml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54.xml"/><Relationship Id="rId6" Type="http://schemas.microsoft.com/office/2007/relationships/diagramDrawing" Target="../diagrams/drawing9.xml"/><Relationship Id="rId11" Type="http://schemas.microsoft.com/office/2007/relationships/diagramDrawing" Target="../diagrams/drawing10.xml"/><Relationship Id="rId5" Type="http://schemas.openxmlformats.org/officeDocument/2006/relationships/diagramColors" Target="../diagrams/colors9.xml"/><Relationship Id="rId10" Type="http://schemas.openxmlformats.org/officeDocument/2006/relationships/diagramColors" Target="../diagrams/colors10.xml"/><Relationship Id="rId4" Type="http://schemas.openxmlformats.org/officeDocument/2006/relationships/diagramQuickStyle" Target="../diagrams/quickStyle9.xml"/><Relationship Id="rId9" Type="http://schemas.openxmlformats.org/officeDocument/2006/relationships/diagramQuickStyle" Target="../diagrams/quickStyl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2.xml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12" Type="http://schemas.microsoft.com/office/2007/relationships/diagramDrawing" Target="../diagrams/drawing1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Relationship Id="rId6" Type="http://schemas.openxmlformats.org/officeDocument/2006/relationships/diagramColors" Target="../diagrams/colors11.xml"/><Relationship Id="rId11" Type="http://schemas.openxmlformats.org/officeDocument/2006/relationships/diagramColors" Target="../diagrams/colors12.xml"/><Relationship Id="rId5" Type="http://schemas.openxmlformats.org/officeDocument/2006/relationships/diagramQuickStyle" Target="../diagrams/quickStyle11.xml"/><Relationship Id="rId10" Type="http://schemas.openxmlformats.org/officeDocument/2006/relationships/diagramQuickStyle" Target="../diagrams/quickStyle12.xml"/><Relationship Id="rId4" Type="http://schemas.openxmlformats.org/officeDocument/2006/relationships/diagramLayout" Target="../diagrams/layout11.xml"/><Relationship Id="rId9" Type="http://schemas.openxmlformats.org/officeDocument/2006/relationships/diagramLayout" Target="../diagrams/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4.xml"/><Relationship Id="rId3" Type="http://schemas.openxmlformats.org/officeDocument/2006/relationships/diagramLayout" Target="../diagrams/layout13.xml"/><Relationship Id="rId7" Type="http://schemas.openxmlformats.org/officeDocument/2006/relationships/diagramData" Target="../diagrams/data14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3.xml"/><Relationship Id="rId11" Type="http://schemas.microsoft.com/office/2007/relationships/diagramDrawing" Target="../diagrams/drawing14.xml"/><Relationship Id="rId5" Type="http://schemas.openxmlformats.org/officeDocument/2006/relationships/diagramColors" Target="../diagrams/colors13.xml"/><Relationship Id="rId10" Type="http://schemas.openxmlformats.org/officeDocument/2006/relationships/diagramColors" Target="../diagrams/colors14.xml"/><Relationship Id="rId4" Type="http://schemas.openxmlformats.org/officeDocument/2006/relationships/diagramQuickStyle" Target="../diagrams/quickStyle13.xml"/><Relationship Id="rId9" Type="http://schemas.openxmlformats.org/officeDocument/2006/relationships/diagramQuickStyle" Target="../diagrams/quickStyle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6.xml"/><Relationship Id="rId3" Type="http://schemas.openxmlformats.org/officeDocument/2006/relationships/diagramLayout" Target="../diagrams/layout15.xml"/><Relationship Id="rId7" Type="http://schemas.openxmlformats.org/officeDocument/2006/relationships/diagramData" Target="../diagrams/data16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5.xml"/><Relationship Id="rId11" Type="http://schemas.microsoft.com/office/2007/relationships/diagramDrawing" Target="../diagrams/drawing16.xml"/><Relationship Id="rId5" Type="http://schemas.openxmlformats.org/officeDocument/2006/relationships/diagramColors" Target="../diagrams/colors15.xml"/><Relationship Id="rId10" Type="http://schemas.openxmlformats.org/officeDocument/2006/relationships/diagramColors" Target="../diagrams/colors16.xml"/><Relationship Id="rId4" Type="http://schemas.openxmlformats.org/officeDocument/2006/relationships/diagramQuickStyle" Target="../diagrams/quickStyle15.xml"/><Relationship Id="rId9" Type="http://schemas.openxmlformats.org/officeDocument/2006/relationships/diagramQuickStyle" Target="../diagrams/quickStyle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0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9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8.xml"/><Relationship Id="rId3" Type="http://schemas.openxmlformats.org/officeDocument/2006/relationships/diagramLayout" Target="../diagrams/layout7.xml"/><Relationship Id="rId7" Type="http://schemas.openxmlformats.org/officeDocument/2006/relationships/diagramData" Target="../diagrams/data8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7.xml"/><Relationship Id="rId11" Type="http://schemas.microsoft.com/office/2007/relationships/diagramDrawing" Target="../diagrams/drawing8.xml"/><Relationship Id="rId5" Type="http://schemas.openxmlformats.org/officeDocument/2006/relationships/diagramColors" Target="../diagrams/colors7.xml"/><Relationship Id="rId10" Type="http://schemas.openxmlformats.org/officeDocument/2006/relationships/diagramColors" Target="../diagrams/colors8.xml"/><Relationship Id="rId4" Type="http://schemas.openxmlformats.org/officeDocument/2006/relationships/diagramQuickStyle" Target="../diagrams/quickStyle7.xml"/><Relationship Id="rId9" Type="http://schemas.openxmlformats.org/officeDocument/2006/relationships/diagramQuickStyle" Target="../diagrams/quickStyl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268BD1F-3499-7542-BE2F-BD778F4531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652" y="5238541"/>
            <a:ext cx="10759373" cy="830997"/>
          </a:xfrm>
        </p:spPr>
        <p:txBody>
          <a:bodyPr/>
          <a:lstStyle/>
          <a:p>
            <a:r>
              <a:rPr lang="en-GB" dirty="0"/>
              <a:t>Country experiences with COVID-19 vaccination </a:t>
            </a:r>
            <a:br>
              <a:rPr lang="en-GB" dirty="0"/>
            </a:br>
            <a:r>
              <a:rPr lang="fr-FR" sz="1800" dirty="0"/>
              <a:t>Main streaming &amp; integration with immunization programme services and PHC</a:t>
            </a:r>
            <a:endParaRPr lang="en-GB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B04949F-0ADB-CB8A-5D71-5CFE318D84AD}"/>
              </a:ext>
            </a:extLst>
          </p:cNvPr>
          <p:cNvSpPr txBox="1"/>
          <p:nvPr/>
        </p:nvSpPr>
        <p:spPr>
          <a:xfrm>
            <a:off x="9620249" y="6222712"/>
            <a:ext cx="1857375" cy="2476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n-GB" sz="1600" b="1" dirty="0">
                <a:solidFill>
                  <a:srgbClr val="FFC000"/>
                </a:solidFill>
                <a:latin typeface="Arial"/>
              </a:rPr>
              <a:t>15 November, </a:t>
            </a: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122D55-CB98-D784-3EB6-92C4FE04D295}"/>
              </a:ext>
            </a:extLst>
          </p:cNvPr>
          <p:cNvSpPr txBox="1"/>
          <p:nvPr/>
        </p:nvSpPr>
        <p:spPr>
          <a:xfrm>
            <a:off x="9039225" y="6324600"/>
            <a:ext cx="3019425" cy="43815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7030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C5298AE8-C32E-C209-A08B-20C43A08EB29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7" y="848287"/>
            <a:ext cx="11082527" cy="246221"/>
          </a:xfrm>
        </p:spPr>
        <p:txBody>
          <a:bodyPr/>
          <a:lstStyle/>
          <a:p>
            <a:r>
              <a:rPr lang="en-GB" dirty="0"/>
              <a:t>SUPPLY CHAIN &amp; WASTE MANAGEMENT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F21FB4C1-E604-190E-19E3-27C42A0F14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47950783"/>
              </p:ext>
            </p:extLst>
          </p:nvPr>
        </p:nvGraphicFramePr>
        <p:xfrm>
          <a:off x="415637" y="1226650"/>
          <a:ext cx="5892799" cy="4536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86130E44-DDA3-F382-F9A8-F3CBB0AF2F3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2853606"/>
              </p:ext>
            </p:extLst>
          </p:nvPr>
        </p:nvGraphicFramePr>
        <p:xfrm>
          <a:off x="6395095" y="1226650"/>
          <a:ext cx="5892799" cy="4536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Title 4">
            <a:extLst>
              <a:ext uri="{FF2B5EF4-FFF2-40B4-BE49-F238E27FC236}">
                <a16:creationId xmlns:a16="http://schemas.microsoft.com/office/drawing/2014/main" id="{6104683A-ECE8-E5A1-DE0B-594A7215B1E3}"/>
              </a:ext>
            </a:extLst>
          </p:cNvPr>
          <p:cNvSpPr txBox="1">
            <a:spLocks/>
          </p:cNvSpPr>
          <p:nvPr/>
        </p:nvSpPr>
        <p:spPr>
          <a:xfrm>
            <a:off x="554736" y="78846"/>
            <a:ext cx="1108252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rgbClr val="002D5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Good practices and innovation to mainstream/integrate COVID-19 vaccination</a:t>
            </a:r>
            <a:r>
              <a:rPr lang="en-GB" dirty="0">
                <a:latin typeface="Arial"/>
              </a:rPr>
              <a:t> </a:t>
            </a:r>
            <a:endParaRPr lang="en-GB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3358236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E582DE7-1335-D8BD-324E-5EFCD81D54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2602" y="1809754"/>
            <a:ext cx="9726795" cy="1169551"/>
          </a:xfrm>
        </p:spPr>
        <p:txBody>
          <a:bodyPr/>
          <a:lstStyle/>
          <a:p>
            <a:r>
              <a:rPr lang="en-GB" dirty="0"/>
              <a:t>4. Human resource management &amp; training</a:t>
            </a:r>
          </a:p>
        </p:txBody>
      </p:sp>
    </p:spTree>
    <p:extLst>
      <p:ext uri="{BB962C8B-B14F-4D97-AF65-F5344CB8AC3E}">
        <p14:creationId xmlns:p14="http://schemas.microsoft.com/office/powerpoint/2010/main" val="40684019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C5298AE8-C32E-C209-A08B-20C43A08EB29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1083826"/>
            <a:ext cx="11082527" cy="246221"/>
          </a:xfrm>
        </p:spPr>
        <p:txBody>
          <a:bodyPr/>
          <a:lstStyle/>
          <a:p>
            <a:r>
              <a:rPr lang="en-GB" dirty="0"/>
              <a:t>HUMAN RESOURCES MANAGEMENT &amp; TRAINING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F21FB4C1-E604-190E-19E3-27C42A0F14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0478736"/>
              </p:ext>
            </p:extLst>
          </p:nvPr>
        </p:nvGraphicFramePr>
        <p:xfrm>
          <a:off x="307039" y="1831540"/>
          <a:ext cx="5323732" cy="12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3D7F747-FD52-83D3-D61B-9CB903904C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10274880"/>
              </p:ext>
            </p:extLst>
          </p:nvPr>
        </p:nvGraphicFramePr>
        <p:xfrm>
          <a:off x="6219266" y="1847955"/>
          <a:ext cx="5417997" cy="122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" name="Title 4">
            <a:extLst>
              <a:ext uri="{FF2B5EF4-FFF2-40B4-BE49-F238E27FC236}">
                <a16:creationId xmlns:a16="http://schemas.microsoft.com/office/drawing/2014/main" id="{E035F709-6585-DA50-E830-18F8B5C0EFB8}"/>
              </a:ext>
            </a:extLst>
          </p:cNvPr>
          <p:cNvSpPr txBox="1">
            <a:spLocks/>
          </p:cNvSpPr>
          <p:nvPr/>
        </p:nvSpPr>
        <p:spPr>
          <a:xfrm>
            <a:off x="554736" y="78846"/>
            <a:ext cx="1108252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rgbClr val="002D5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Good practices and innovation to mainstream/integrate COVID-19 vaccination</a:t>
            </a:r>
            <a:r>
              <a:rPr lang="en-GB" dirty="0">
                <a:latin typeface="Arial"/>
              </a:rPr>
              <a:t> </a:t>
            </a:r>
            <a:endParaRPr lang="en-GB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307393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D1B216C-04E8-9D30-EEC5-051C5E5806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5. Demand &amp; community engagement</a:t>
            </a:r>
          </a:p>
        </p:txBody>
      </p:sp>
    </p:spTree>
    <p:extLst>
      <p:ext uri="{BB962C8B-B14F-4D97-AF65-F5344CB8AC3E}">
        <p14:creationId xmlns:p14="http://schemas.microsoft.com/office/powerpoint/2010/main" val="159684019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C5298AE8-C32E-C209-A08B-20C43A08EB29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11122"/>
            <a:ext cx="11082527" cy="246221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None/>
              <a:tabLst/>
              <a:defRPr/>
            </a:pPr>
            <a:r>
              <a:rPr kumimoji="0" lang="en-GB" b="0" i="0" u="none" strike="noStrike" kern="1200" cap="none" spc="0" normalizeH="0" baseline="0" noProof="0" dirty="0">
                <a:ln>
                  <a:noFill/>
                </a:ln>
                <a:solidFill>
                  <a:srgbClr val="002C5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MAND &amp; COMMUNITY ENGAGEMENT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F21FB4C1-E604-190E-19E3-27C42A0F14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48200268"/>
              </p:ext>
            </p:extLst>
          </p:nvPr>
        </p:nvGraphicFramePr>
        <p:xfrm>
          <a:off x="406210" y="1401775"/>
          <a:ext cx="5617301" cy="480106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9AE0DC5E-5748-E8E9-EF5D-E39C595B8AE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6075723"/>
              </p:ext>
            </p:extLst>
          </p:nvPr>
        </p:nvGraphicFramePr>
        <p:xfrm>
          <a:off x="6448884" y="1226650"/>
          <a:ext cx="5527963" cy="4536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Title 4">
            <a:extLst>
              <a:ext uri="{FF2B5EF4-FFF2-40B4-BE49-F238E27FC236}">
                <a16:creationId xmlns:a16="http://schemas.microsoft.com/office/drawing/2014/main" id="{8A7376A7-A4F8-29C2-A705-4D6C1E88F97B}"/>
              </a:ext>
            </a:extLst>
          </p:cNvPr>
          <p:cNvSpPr txBox="1">
            <a:spLocks/>
          </p:cNvSpPr>
          <p:nvPr/>
        </p:nvSpPr>
        <p:spPr>
          <a:xfrm>
            <a:off x="554736" y="78846"/>
            <a:ext cx="1108252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rgbClr val="002D5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Good practices and innovation to mainstream/integrate COVID-19 vaccination</a:t>
            </a:r>
            <a:r>
              <a:rPr lang="en-GB" dirty="0">
                <a:latin typeface="Arial"/>
              </a:rPr>
              <a:t> </a:t>
            </a:r>
            <a:endParaRPr lang="en-GB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99002455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DBAACBA-B280-DF4D-11EB-3F8B6F9BF9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2601" y="1868397"/>
            <a:ext cx="9726795" cy="584775"/>
          </a:xfrm>
        </p:spPr>
        <p:txBody>
          <a:bodyPr/>
          <a:lstStyle/>
          <a:p>
            <a:r>
              <a:rPr lang="en-GB" dirty="0"/>
              <a:t>6. Data systems &amp; monitoring</a:t>
            </a:r>
          </a:p>
        </p:txBody>
      </p:sp>
    </p:spTree>
    <p:extLst>
      <p:ext uri="{BB962C8B-B14F-4D97-AF65-F5344CB8AC3E}">
        <p14:creationId xmlns:p14="http://schemas.microsoft.com/office/powerpoint/2010/main" val="7852351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F21FB4C1-E604-190E-19E3-27C42A0F14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41402643"/>
              </p:ext>
            </p:extLst>
          </p:nvPr>
        </p:nvGraphicFramePr>
        <p:xfrm>
          <a:off x="203200" y="1226650"/>
          <a:ext cx="5892799" cy="4536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4AC77CEF-3A5D-0B00-9187-D6A7AA9B32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67369577"/>
              </p:ext>
            </p:extLst>
          </p:nvPr>
        </p:nvGraphicFramePr>
        <p:xfrm>
          <a:off x="6299201" y="1226650"/>
          <a:ext cx="5892799" cy="4536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9" name="Subtitle 5">
            <a:extLst>
              <a:ext uri="{FF2B5EF4-FFF2-40B4-BE49-F238E27FC236}">
                <a16:creationId xmlns:a16="http://schemas.microsoft.com/office/drawing/2014/main" id="{5BEC5204-BEAA-24E5-3393-563610553FAE}"/>
              </a:ext>
            </a:extLst>
          </p:cNvPr>
          <p:cNvSpPr txBox="1">
            <a:spLocks/>
          </p:cNvSpPr>
          <p:nvPr/>
        </p:nvSpPr>
        <p:spPr>
          <a:xfrm>
            <a:off x="554735" y="848287"/>
            <a:ext cx="1108252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kern="1200" dirty="0">
                <a:solidFill>
                  <a:srgbClr val="002D5F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2286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600" kern="1200" dirty="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2pPr>
            <a:lvl3pPr marL="438912" indent="-21031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600" kern="1200" dirty="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3pPr>
            <a:lvl4pPr marL="594360" indent="-155448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4pPr>
            <a:lvl5pPr marL="813816" indent="-146304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rgbClr val="002D5F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2D5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ATA SYSTEMS AND MONITORING</a:t>
            </a:r>
          </a:p>
        </p:txBody>
      </p:sp>
      <p:sp>
        <p:nvSpPr>
          <p:cNvPr id="2" name="Title 4">
            <a:extLst>
              <a:ext uri="{FF2B5EF4-FFF2-40B4-BE49-F238E27FC236}">
                <a16:creationId xmlns:a16="http://schemas.microsoft.com/office/drawing/2014/main" id="{9389682D-D0E7-E478-DE42-576EDFAF7524}"/>
              </a:ext>
            </a:extLst>
          </p:cNvPr>
          <p:cNvSpPr txBox="1">
            <a:spLocks/>
          </p:cNvSpPr>
          <p:nvPr/>
        </p:nvSpPr>
        <p:spPr>
          <a:xfrm>
            <a:off x="554736" y="78846"/>
            <a:ext cx="1108252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rgbClr val="002D5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Good practices and innovation to mainstream/integrate COVID-19 vaccination</a:t>
            </a:r>
            <a:r>
              <a:rPr lang="en-GB" dirty="0">
                <a:latin typeface="Arial"/>
              </a:rPr>
              <a:t> </a:t>
            </a:r>
            <a:endParaRPr lang="en-GB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2243505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ircle">
            <a:extLst>
              <a:ext uri="{FF2B5EF4-FFF2-40B4-BE49-F238E27FC236}">
                <a16:creationId xmlns:a16="http://schemas.microsoft.com/office/drawing/2014/main" id="{76FF7004-8978-4424-A7F6-9EB1455EC91E}"/>
              </a:ext>
            </a:extLst>
          </p:cNvPr>
          <p:cNvSpPr/>
          <p:nvPr/>
        </p:nvSpPr>
        <p:spPr>
          <a:xfrm>
            <a:off x="5087176" y="2590931"/>
            <a:ext cx="2017648" cy="2017644"/>
          </a:xfrm>
          <a:prstGeom prst="ellipse">
            <a:avLst/>
          </a:prstGeom>
          <a:solidFill>
            <a:schemeClr val="bg1"/>
          </a:solidFill>
          <a:ln w="12700">
            <a:miter lim="4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38100" tIns="38100" rIns="38100" bIns="38100" anchor="ctr"/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pic>
        <p:nvPicPr>
          <p:cNvPr id="36" name="Graphic 35" descr="Lights On">
            <a:extLst>
              <a:ext uri="{FF2B5EF4-FFF2-40B4-BE49-F238E27FC236}">
                <a16:creationId xmlns:a16="http://schemas.microsoft.com/office/drawing/2014/main" id="{0641B075-D2D1-4B78-B692-D21AD13DB0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38834" y="2942587"/>
            <a:ext cx="1314332" cy="1314332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A63EA1C1-9B95-492F-907C-833022974836}"/>
              </a:ext>
            </a:extLst>
          </p:cNvPr>
          <p:cNvSpPr/>
          <p:nvPr/>
        </p:nvSpPr>
        <p:spPr>
          <a:xfrm>
            <a:off x="5460372" y="1908504"/>
            <a:ext cx="1271232" cy="913702"/>
          </a:xfrm>
          <a:custGeom>
            <a:avLst/>
            <a:gdLst>
              <a:gd name="connsiteX0" fmla="*/ 356865 w 1271232"/>
              <a:gd name="connsiteY0" fmla="*/ 1537 h 913702"/>
              <a:gd name="connsiteX1" fmla="*/ 354220 w 1271232"/>
              <a:gd name="connsiteY1" fmla="*/ 6411 h 913702"/>
              <a:gd name="connsiteX2" fmla="*/ 330219 w 1271232"/>
              <a:gd name="connsiteY2" fmla="*/ 125290 h 913702"/>
              <a:gd name="connsiteX3" fmla="*/ 333050 w 1271232"/>
              <a:gd name="connsiteY3" fmla="*/ 153373 h 913702"/>
              <a:gd name="connsiteX4" fmla="*/ 332432 w 1271232"/>
              <a:gd name="connsiteY4" fmla="*/ 150961 h 913702"/>
              <a:gd name="connsiteX5" fmla="*/ 332432 w 1271232"/>
              <a:gd name="connsiteY5" fmla="*/ 152567 h 913702"/>
              <a:gd name="connsiteX6" fmla="*/ 334579 w 1271232"/>
              <a:gd name="connsiteY6" fmla="*/ 168535 h 913702"/>
              <a:gd name="connsiteX7" fmla="*/ 336424 w 1271232"/>
              <a:gd name="connsiteY7" fmla="*/ 186841 h 913702"/>
              <a:gd name="connsiteX8" fmla="*/ 337511 w 1271232"/>
              <a:gd name="connsiteY8" fmla="*/ 190341 h 913702"/>
              <a:gd name="connsiteX9" fmla="*/ 342662 w 1271232"/>
              <a:gd name="connsiteY9" fmla="*/ 228651 h 913702"/>
              <a:gd name="connsiteX10" fmla="*/ 475402 w 1271232"/>
              <a:gd name="connsiteY10" fmla="*/ 401119 h 913702"/>
              <a:gd name="connsiteX11" fmla="*/ 460809 w 1271232"/>
              <a:gd name="connsiteY11" fmla="*/ 485590 h 913702"/>
              <a:gd name="connsiteX12" fmla="*/ 545277 w 1271232"/>
              <a:gd name="connsiteY12" fmla="*/ 631832 h 913702"/>
              <a:gd name="connsiteX13" fmla="*/ 480267 w 1271232"/>
              <a:gd name="connsiteY13" fmla="*/ 873873 h 913702"/>
              <a:gd name="connsiteX14" fmla="*/ 452658 w 1271232"/>
              <a:gd name="connsiteY14" fmla="*/ 890107 h 913702"/>
              <a:gd name="connsiteX15" fmla="*/ 210627 w 1271232"/>
              <a:gd name="connsiteY15" fmla="*/ 825126 h 913702"/>
              <a:gd name="connsiteX16" fmla="*/ 48199 w 1271232"/>
              <a:gd name="connsiteY16" fmla="*/ 544105 h 913702"/>
              <a:gd name="connsiteX17" fmla="*/ 285366 w 1271232"/>
              <a:gd name="connsiteY17" fmla="*/ 12881 h 913702"/>
              <a:gd name="connsiteX18" fmla="*/ 913559 w 1271232"/>
              <a:gd name="connsiteY18" fmla="*/ 0 h 913702"/>
              <a:gd name="connsiteX19" fmla="*/ 985562 w 1271232"/>
              <a:gd name="connsiteY19" fmla="*/ 11231 h 913702"/>
              <a:gd name="connsiteX20" fmla="*/ 1221085 w 1271232"/>
              <a:gd name="connsiteY20" fmla="*/ 540849 h 913702"/>
              <a:gd name="connsiteX21" fmla="*/ 1060235 w 1271232"/>
              <a:gd name="connsiteY21" fmla="*/ 818659 h 913702"/>
              <a:gd name="connsiteX22" fmla="*/ 818204 w 1271232"/>
              <a:gd name="connsiteY22" fmla="*/ 883640 h 913702"/>
              <a:gd name="connsiteX23" fmla="*/ 798681 w 1271232"/>
              <a:gd name="connsiteY23" fmla="*/ 872267 h 913702"/>
              <a:gd name="connsiteX24" fmla="*/ 733736 w 1271232"/>
              <a:gd name="connsiteY24" fmla="*/ 630182 h 913702"/>
              <a:gd name="connsiteX25" fmla="*/ 818204 w 1271232"/>
              <a:gd name="connsiteY25" fmla="*/ 483985 h 913702"/>
              <a:gd name="connsiteX26" fmla="*/ 798681 w 1271232"/>
              <a:gd name="connsiteY26" fmla="*/ 396258 h 913702"/>
              <a:gd name="connsiteX27" fmla="*/ 926865 w 1271232"/>
              <a:gd name="connsiteY27" fmla="*/ 226512 h 913702"/>
              <a:gd name="connsiteX28" fmla="*/ 930173 w 1271232"/>
              <a:gd name="connsiteY28" fmla="*/ 201858 h 913702"/>
              <a:gd name="connsiteX29" fmla="*/ 934834 w 1271232"/>
              <a:gd name="connsiteY29" fmla="*/ 186841 h 913702"/>
              <a:gd name="connsiteX30" fmla="*/ 941039 w 1271232"/>
              <a:gd name="connsiteY30" fmla="*/ 125290 h 913702"/>
              <a:gd name="connsiteX31" fmla="*/ 917039 w 1271232"/>
              <a:gd name="connsiteY31" fmla="*/ 6411 h 913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271232" h="913702">
                <a:moveTo>
                  <a:pt x="356865" y="1537"/>
                </a:moveTo>
                <a:lnTo>
                  <a:pt x="354220" y="6411"/>
                </a:lnTo>
                <a:cubicBezTo>
                  <a:pt x="338765" y="42950"/>
                  <a:pt x="330219" y="83122"/>
                  <a:pt x="330219" y="125290"/>
                </a:cubicBezTo>
                <a:lnTo>
                  <a:pt x="333050" y="153373"/>
                </a:lnTo>
                <a:lnTo>
                  <a:pt x="332432" y="150961"/>
                </a:lnTo>
                <a:cubicBezTo>
                  <a:pt x="332432" y="152567"/>
                  <a:pt x="332432" y="152567"/>
                  <a:pt x="332432" y="152567"/>
                </a:cubicBezTo>
                <a:lnTo>
                  <a:pt x="334579" y="168535"/>
                </a:lnTo>
                <a:lnTo>
                  <a:pt x="336424" y="186841"/>
                </a:lnTo>
                <a:lnTo>
                  <a:pt x="337511" y="190341"/>
                </a:lnTo>
                <a:lnTo>
                  <a:pt x="342662" y="228651"/>
                </a:lnTo>
                <a:cubicBezTo>
                  <a:pt x="362690" y="301230"/>
                  <a:pt x="410819" y="362150"/>
                  <a:pt x="475402" y="401119"/>
                </a:cubicBezTo>
                <a:cubicBezTo>
                  <a:pt x="452658" y="420609"/>
                  <a:pt x="442930" y="456378"/>
                  <a:pt x="460809" y="485590"/>
                </a:cubicBezTo>
                <a:lnTo>
                  <a:pt x="545277" y="631832"/>
                </a:lnTo>
                <a:cubicBezTo>
                  <a:pt x="593986" y="716303"/>
                  <a:pt x="564800" y="825126"/>
                  <a:pt x="480267" y="873873"/>
                </a:cubicBezTo>
                <a:lnTo>
                  <a:pt x="452658" y="890107"/>
                </a:lnTo>
                <a:cubicBezTo>
                  <a:pt x="368191" y="938854"/>
                  <a:pt x="259336" y="909597"/>
                  <a:pt x="210627" y="825126"/>
                </a:cubicBezTo>
                <a:lnTo>
                  <a:pt x="48199" y="544105"/>
                </a:lnTo>
                <a:cubicBezTo>
                  <a:pt x="-73672" y="332882"/>
                  <a:pt x="46556" y="64840"/>
                  <a:pt x="285366" y="12881"/>
                </a:cubicBezTo>
                <a:close/>
                <a:moveTo>
                  <a:pt x="913559" y="0"/>
                </a:moveTo>
                <a:lnTo>
                  <a:pt x="985562" y="11231"/>
                </a:lnTo>
                <a:cubicBezTo>
                  <a:pt x="1225950" y="61584"/>
                  <a:pt x="1346177" y="329671"/>
                  <a:pt x="1221085" y="540849"/>
                </a:cubicBezTo>
                <a:lnTo>
                  <a:pt x="1060235" y="818659"/>
                </a:lnTo>
                <a:cubicBezTo>
                  <a:pt x="1011526" y="903130"/>
                  <a:pt x="902671" y="932343"/>
                  <a:pt x="818204" y="883640"/>
                </a:cubicBezTo>
                <a:lnTo>
                  <a:pt x="798681" y="872267"/>
                </a:lnTo>
                <a:cubicBezTo>
                  <a:pt x="714213" y="823520"/>
                  <a:pt x="684961" y="714653"/>
                  <a:pt x="733736" y="630182"/>
                </a:cubicBezTo>
                <a:lnTo>
                  <a:pt x="818204" y="483985"/>
                </a:lnTo>
                <a:cubicBezTo>
                  <a:pt x="836083" y="453122"/>
                  <a:pt x="824711" y="415748"/>
                  <a:pt x="798681" y="396258"/>
                </a:cubicBezTo>
                <a:cubicBezTo>
                  <a:pt x="860848" y="357256"/>
                  <a:pt x="907449" y="297256"/>
                  <a:pt x="926865" y="226512"/>
                </a:cubicBezTo>
                <a:lnTo>
                  <a:pt x="930173" y="201858"/>
                </a:lnTo>
                <a:lnTo>
                  <a:pt x="934834" y="186841"/>
                </a:lnTo>
                <a:cubicBezTo>
                  <a:pt x="938903" y="166959"/>
                  <a:pt x="941039" y="146374"/>
                  <a:pt x="941039" y="125290"/>
                </a:cubicBezTo>
                <a:cubicBezTo>
                  <a:pt x="941039" y="83122"/>
                  <a:pt x="932493" y="42950"/>
                  <a:pt x="917039" y="6411"/>
                </a:cubicBezTo>
                <a:close/>
              </a:path>
            </a:pathLst>
          </a:custGeom>
          <a:solidFill>
            <a:schemeClr val="accent4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id="{45CE43F3-EF12-45FE-A1AD-AC8E040BD3A1}"/>
              </a:ext>
            </a:extLst>
          </p:cNvPr>
          <p:cNvSpPr/>
          <p:nvPr/>
        </p:nvSpPr>
        <p:spPr>
          <a:xfrm>
            <a:off x="4455506" y="2344409"/>
            <a:ext cx="1127090" cy="1189463"/>
          </a:xfrm>
          <a:custGeom>
            <a:avLst/>
            <a:gdLst>
              <a:gd name="connsiteX0" fmla="*/ 48513 w 1127090"/>
              <a:gd name="connsiteY0" fmla="*/ 642105 h 1189463"/>
              <a:gd name="connsiteX1" fmla="*/ 80053 w 1127090"/>
              <a:gd name="connsiteY1" fmla="*/ 680332 h 1189463"/>
              <a:gd name="connsiteX2" fmla="*/ 234460 w 1127090"/>
              <a:gd name="connsiteY2" fmla="*/ 763579 h 1189463"/>
              <a:gd name="connsiteX3" fmla="*/ 237359 w 1127090"/>
              <a:gd name="connsiteY3" fmla="*/ 763872 h 1189463"/>
              <a:gd name="connsiteX4" fmla="*/ 248234 w 1127090"/>
              <a:gd name="connsiteY4" fmla="*/ 768187 h 1189463"/>
              <a:gd name="connsiteX5" fmla="*/ 444021 w 1127090"/>
              <a:gd name="connsiteY5" fmla="*/ 749229 h 1189463"/>
              <a:gd name="connsiteX6" fmla="*/ 510608 w 1127090"/>
              <a:gd name="connsiteY6" fmla="*/ 814204 h 1189463"/>
              <a:gd name="connsiteX7" fmla="*/ 705554 w 1127090"/>
              <a:gd name="connsiteY7" fmla="*/ 814204 h 1189463"/>
              <a:gd name="connsiteX8" fmla="*/ 882651 w 1127090"/>
              <a:gd name="connsiteY8" fmla="*/ 991294 h 1189463"/>
              <a:gd name="connsiteX9" fmla="*/ 882651 w 1127090"/>
              <a:gd name="connsiteY9" fmla="*/ 1012373 h 1189463"/>
              <a:gd name="connsiteX10" fmla="*/ 705554 w 1127090"/>
              <a:gd name="connsiteY10" fmla="*/ 1189463 h 1189463"/>
              <a:gd name="connsiteX11" fmla="*/ 359530 w 1127090"/>
              <a:gd name="connsiteY11" fmla="*/ 1189463 h 1189463"/>
              <a:gd name="connsiteX12" fmla="*/ 16751 w 1127090"/>
              <a:gd name="connsiteY12" fmla="*/ 726470 h 1189463"/>
              <a:gd name="connsiteX13" fmla="*/ 564404 w 1127090"/>
              <a:gd name="connsiteY13" fmla="*/ 321516 h 1189463"/>
              <a:gd name="connsiteX14" fmla="*/ 567877 w 1127090"/>
              <a:gd name="connsiteY14" fmla="*/ 326866 h 1189463"/>
              <a:gd name="connsiteX15" fmla="*/ 568863 w 1127090"/>
              <a:gd name="connsiteY15" fmla="*/ 329731 h 1189463"/>
              <a:gd name="connsiteX16" fmla="*/ 518640 w 1127090"/>
              <a:gd name="connsiteY16" fmla="*/ 256504 h 1189463"/>
              <a:gd name="connsiteX17" fmla="*/ 527511 w 1127090"/>
              <a:gd name="connsiteY17" fmla="*/ 264681 h 1189463"/>
              <a:gd name="connsiteX18" fmla="*/ 535349 w 1127090"/>
              <a:gd name="connsiteY18" fmla="*/ 276756 h 1189463"/>
              <a:gd name="connsiteX19" fmla="*/ 667994 w 1127090"/>
              <a:gd name="connsiteY19" fmla="*/ 1758 h 1189463"/>
              <a:gd name="connsiteX20" fmla="*/ 942746 w 1127090"/>
              <a:gd name="connsiteY20" fmla="*/ 179043 h 1189463"/>
              <a:gd name="connsiteX21" fmla="*/ 1103560 w 1127090"/>
              <a:gd name="connsiteY21" fmla="*/ 456839 h 1189463"/>
              <a:gd name="connsiteX22" fmla="*/ 1036974 w 1127090"/>
              <a:gd name="connsiteY22" fmla="*/ 700468 h 1189463"/>
              <a:gd name="connsiteX23" fmla="*/ 794914 w 1127090"/>
              <a:gd name="connsiteY23" fmla="*/ 635493 h 1189463"/>
              <a:gd name="connsiteX24" fmla="*/ 705554 w 1127090"/>
              <a:gd name="connsiteY24" fmla="*/ 481161 h 1189463"/>
              <a:gd name="connsiteX25" fmla="*/ 622685 w 1127090"/>
              <a:gd name="connsiteY25" fmla="*/ 453538 h 1189463"/>
              <a:gd name="connsiteX26" fmla="*/ 473230 w 1127090"/>
              <a:gd name="connsiteY26" fmla="*/ 213152 h 1189463"/>
              <a:gd name="connsiteX27" fmla="*/ 471607 w 1127090"/>
              <a:gd name="connsiteY27" fmla="*/ 213152 h 1189463"/>
              <a:gd name="connsiteX28" fmla="*/ 491929 w 1127090"/>
              <a:gd name="connsiteY28" fmla="*/ 231884 h 1189463"/>
              <a:gd name="connsiteX29" fmla="*/ 466768 w 1127090"/>
              <a:gd name="connsiteY29" fmla="*/ 211123 h 1189463"/>
              <a:gd name="connsiteX30" fmla="*/ 357561 w 1127090"/>
              <a:gd name="connsiteY30" fmla="*/ 165169 h 1189463"/>
              <a:gd name="connsiteX31" fmla="*/ 329128 w 1127090"/>
              <a:gd name="connsiteY31" fmla="*/ 162303 h 1189463"/>
              <a:gd name="connsiteX32" fmla="*/ 362775 w 1127090"/>
              <a:gd name="connsiteY32" fmla="*/ 120554 h 1189463"/>
              <a:gd name="connsiteX33" fmla="*/ 667994 w 1127090"/>
              <a:gd name="connsiteY33" fmla="*/ 1758 h 1189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</a:cxnLst>
            <a:rect l="l" t="t" r="r" b="b"/>
            <a:pathLst>
              <a:path w="1127090" h="1189463">
                <a:moveTo>
                  <a:pt x="48513" y="642105"/>
                </a:moveTo>
                <a:lnTo>
                  <a:pt x="80053" y="680332"/>
                </a:lnTo>
                <a:cubicBezTo>
                  <a:pt x="121504" y="721783"/>
                  <a:pt x="174815" y="751374"/>
                  <a:pt x="234460" y="763579"/>
                </a:cubicBezTo>
                <a:lnTo>
                  <a:pt x="237359" y="763872"/>
                </a:lnTo>
                <a:lnTo>
                  <a:pt x="248234" y="768187"/>
                </a:lnTo>
                <a:cubicBezTo>
                  <a:pt x="313937" y="785158"/>
                  <a:pt x="383087" y="777243"/>
                  <a:pt x="444021" y="749229"/>
                </a:cubicBezTo>
                <a:cubicBezTo>
                  <a:pt x="445644" y="783338"/>
                  <a:pt x="473286" y="814204"/>
                  <a:pt x="510608" y="814204"/>
                </a:cubicBezTo>
                <a:lnTo>
                  <a:pt x="705554" y="814204"/>
                </a:lnTo>
                <a:cubicBezTo>
                  <a:pt x="803027" y="814204"/>
                  <a:pt x="882651" y="893831"/>
                  <a:pt x="882651" y="991294"/>
                </a:cubicBezTo>
                <a:lnTo>
                  <a:pt x="882651" y="1012373"/>
                </a:lnTo>
                <a:cubicBezTo>
                  <a:pt x="882651" y="1109836"/>
                  <a:pt x="803027" y="1189463"/>
                  <a:pt x="705554" y="1189463"/>
                </a:cubicBezTo>
                <a:lnTo>
                  <a:pt x="359530" y="1189463"/>
                </a:lnTo>
                <a:cubicBezTo>
                  <a:pt x="119148" y="1189463"/>
                  <a:pt x="-56327" y="955563"/>
                  <a:pt x="16751" y="726470"/>
                </a:cubicBezTo>
                <a:close/>
                <a:moveTo>
                  <a:pt x="564404" y="321516"/>
                </a:moveTo>
                <a:lnTo>
                  <a:pt x="567877" y="326866"/>
                </a:lnTo>
                <a:lnTo>
                  <a:pt x="568863" y="329731"/>
                </a:lnTo>
                <a:close/>
                <a:moveTo>
                  <a:pt x="518640" y="256504"/>
                </a:moveTo>
                <a:lnTo>
                  <a:pt x="527511" y="264681"/>
                </a:lnTo>
                <a:lnTo>
                  <a:pt x="535349" y="276756"/>
                </a:lnTo>
                <a:close/>
                <a:moveTo>
                  <a:pt x="667994" y="1758"/>
                </a:moveTo>
                <a:cubicBezTo>
                  <a:pt x="777036" y="12522"/>
                  <a:pt x="881000" y="72633"/>
                  <a:pt x="942746" y="179043"/>
                </a:cubicBezTo>
                <a:lnTo>
                  <a:pt x="1103560" y="456839"/>
                </a:lnTo>
                <a:cubicBezTo>
                  <a:pt x="1152297" y="541272"/>
                  <a:pt x="1123032" y="650144"/>
                  <a:pt x="1036974" y="700468"/>
                </a:cubicBezTo>
                <a:cubicBezTo>
                  <a:pt x="952482" y="749229"/>
                  <a:pt x="843650" y="719984"/>
                  <a:pt x="794914" y="635493"/>
                </a:cubicBezTo>
                <a:lnTo>
                  <a:pt x="705554" y="481161"/>
                </a:lnTo>
                <a:cubicBezTo>
                  <a:pt x="689327" y="450295"/>
                  <a:pt x="651949" y="440566"/>
                  <a:pt x="622685" y="453538"/>
                </a:cubicBezTo>
                <a:cubicBezTo>
                  <a:pt x="616194" y="354454"/>
                  <a:pt x="564212" y="261855"/>
                  <a:pt x="473230" y="213152"/>
                </a:cubicBezTo>
                <a:cubicBezTo>
                  <a:pt x="471607" y="213152"/>
                  <a:pt x="471607" y="213152"/>
                  <a:pt x="471607" y="213152"/>
                </a:cubicBezTo>
                <a:lnTo>
                  <a:pt x="491929" y="231884"/>
                </a:lnTo>
                <a:lnTo>
                  <a:pt x="466768" y="211123"/>
                </a:lnTo>
                <a:cubicBezTo>
                  <a:pt x="434272" y="189170"/>
                  <a:pt x="397324" y="173306"/>
                  <a:pt x="357561" y="165169"/>
                </a:cubicBezTo>
                <a:lnTo>
                  <a:pt x="329128" y="162303"/>
                </a:lnTo>
                <a:lnTo>
                  <a:pt x="362775" y="120554"/>
                </a:lnTo>
                <a:cubicBezTo>
                  <a:pt x="444833" y="29576"/>
                  <a:pt x="558953" y="-9007"/>
                  <a:pt x="667994" y="1758"/>
                </a:cubicBezTo>
                <a:close/>
              </a:path>
            </a:pathLst>
          </a:custGeom>
          <a:solidFill>
            <a:schemeClr val="accent1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id="{14131401-E6C5-4301-8198-4DD666A247BF}"/>
              </a:ext>
            </a:extLst>
          </p:cNvPr>
          <p:cNvSpPr/>
          <p:nvPr/>
        </p:nvSpPr>
        <p:spPr>
          <a:xfrm>
            <a:off x="6596334" y="2334111"/>
            <a:ext cx="1135300" cy="1199769"/>
          </a:xfrm>
          <a:custGeom>
            <a:avLst/>
            <a:gdLst>
              <a:gd name="connsiteX0" fmla="*/ 1081642 w 1135300"/>
              <a:gd name="connsiteY0" fmla="*/ 639618 h 1199769"/>
              <a:gd name="connsiteX1" fmla="*/ 1118529 w 1135300"/>
              <a:gd name="connsiteY1" fmla="*/ 736795 h 1199769"/>
              <a:gd name="connsiteX2" fmla="*/ 775744 w 1135300"/>
              <a:gd name="connsiteY2" fmla="*/ 1199761 h 1199769"/>
              <a:gd name="connsiteX3" fmla="*/ 429747 w 1135300"/>
              <a:gd name="connsiteY3" fmla="*/ 1199761 h 1199769"/>
              <a:gd name="connsiteX4" fmla="*/ 252636 w 1135300"/>
              <a:gd name="connsiteY4" fmla="*/ 1022707 h 1199769"/>
              <a:gd name="connsiteX5" fmla="*/ 252636 w 1135300"/>
              <a:gd name="connsiteY5" fmla="*/ 1001556 h 1199769"/>
              <a:gd name="connsiteX6" fmla="*/ 429747 w 1135300"/>
              <a:gd name="connsiteY6" fmla="*/ 824502 h 1199769"/>
              <a:gd name="connsiteX7" fmla="*/ 624659 w 1135300"/>
              <a:gd name="connsiteY7" fmla="*/ 824502 h 1199769"/>
              <a:gd name="connsiteX8" fmla="*/ 691301 w 1135300"/>
              <a:gd name="connsiteY8" fmla="*/ 764390 h 1199769"/>
              <a:gd name="connsiteX9" fmla="*/ 879998 w 1135300"/>
              <a:gd name="connsiteY9" fmla="*/ 778116 h 1199769"/>
              <a:gd name="connsiteX10" fmla="*/ 901805 w 1135300"/>
              <a:gd name="connsiteY10" fmla="*/ 769216 h 1199769"/>
              <a:gd name="connsiteX11" fmla="*/ 944116 w 1135300"/>
              <a:gd name="connsiteY11" fmla="*/ 756081 h 1199769"/>
              <a:gd name="connsiteX12" fmla="*/ 1078488 w 1135300"/>
              <a:gd name="connsiteY12" fmla="*/ 645430 h 1199769"/>
              <a:gd name="connsiteX13" fmla="*/ 535708 w 1135300"/>
              <a:gd name="connsiteY13" fmla="*/ 1909 h 1199769"/>
              <a:gd name="connsiteX14" fmla="*/ 756252 w 1135300"/>
              <a:gd name="connsiteY14" fmla="*/ 112945 h 1199769"/>
              <a:gd name="connsiteX15" fmla="*/ 804409 w 1135300"/>
              <a:gd name="connsiteY15" fmla="*/ 171362 h 1199769"/>
              <a:gd name="connsiteX16" fmla="*/ 763687 w 1135300"/>
              <a:gd name="connsiteY16" fmla="*/ 175467 h 1199769"/>
              <a:gd name="connsiteX17" fmla="*/ 654480 w 1135300"/>
              <a:gd name="connsiteY17" fmla="*/ 221421 h 1199769"/>
              <a:gd name="connsiteX18" fmla="*/ 652891 w 1135300"/>
              <a:gd name="connsiteY18" fmla="*/ 222732 h 1199769"/>
              <a:gd name="connsiteX19" fmla="*/ 653896 w 1135300"/>
              <a:gd name="connsiteY19" fmla="*/ 221802 h 1199769"/>
              <a:gd name="connsiteX20" fmla="*/ 652318 w 1135300"/>
              <a:gd name="connsiteY20" fmla="*/ 221802 h 1199769"/>
              <a:gd name="connsiteX21" fmla="*/ 502811 w 1135300"/>
              <a:gd name="connsiteY21" fmla="*/ 458968 h 1199769"/>
              <a:gd name="connsiteX22" fmla="*/ 428113 w 1135300"/>
              <a:gd name="connsiteY22" fmla="*/ 489844 h 1199769"/>
              <a:gd name="connsiteX23" fmla="*/ 338769 w 1135300"/>
              <a:gd name="connsiteY23" fmla="*/ 644167 h 1199769"/>
              <a:gd name="connsiteX24" fmla="*/ 96707 w 1135300"/>
              <a:gd name="connsiteY24" fmla="*/ 709141 h 1199769"/>
              <a:gd name="connsiteX25" fmla="*/ 88595 w 1135300"/>
              <a:gd name="connsiteY25" fmla="*/ 704278 h 1199769"/>
              <a:gd name="connsiteX26" fmla="*/ 23587 w 1135300"/>
              <a:gd name="connsiteY26" fmla="*/ 462249 h 1199769"/>
              <a:gd name="connsiteX27" fmla="*/ 186051 w 1135300"/>
              <a:gd name="connsiteY27" fmla="*/ 181200 h 1199769"/>
              <a:gd name="connsiteX28" fmla="*/ 535708 w 1135300"/>
              <a:gd name="connsiteY28" fmla="*/ 1909 h 119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</a:cxnLst>
            <a:rect l="l" t="t" r="r" b="b"/>
            <a:pathLst>
              <a:path w="1135300" h="1199769">
                <a:moveTo>
                  <a:pt x="1081642" y="639618"/>
                </a:moveTo>
                <a:lnTo>
                  <a:pt x="1118529" y="736795"/>
                </a:lnTo>
                <a:cubicBezTo>
                  <a:pt x="1191649" y="965817"/>
                  <a:pt x="1016229" y="1201402"/>
                  <a:pt x="775744" y="1199761"/>
                </a:cubicBezTo>
                <a:lnTo>
                  <a:pt x="429747" y="1199761"/>
                </a:lnTo>
                <a:cubicBezTo>
                  <a:pt x="332235" y="1199761"/>
                  <a:pt x="252636" y="1120198"/>
                  <a:pt x="252636" y="1022707"/>
                </a:cubicBezTo>
                <a:lnTo>
                  <a:pt x="252636" y="1001556"/>
                </a:lnTo>
                <a:cubicBezTo>
                  <a:pt x="252636" y="904124"/>
                  <a:pt x="332235" y="824502"/>
                  <a:pt x="429747" y="824502"/>
                </a:cubicBezTo>
                <a:lnTo>
                  <a:pt x="624659" y="824502"/>
                </a:lnTo>
                <a:cubicBezTo>
                  <a:pt x="662064" y="824502"/>
                  <a:pt x="688033" y="796907"/>
                  <a:pt x="691301" y="764390"/>
                </a:cubicBezTo>
                <a:cubicBezTo>
                  <a:pt x="751000" y="790008"/>
                  <a:pt x="817099" y="795490"/>
                  <a:pt x="879998" y="778116"/>
                </a:cubicBezTo>
                <a:lnTo>
                  <a:pt x="901805" y="769216"/>
                </a:lnTo>
                <a:lnTo>
                  <a:pt x="944116" y="756081"/>
                </a:lnTo>
                <a:cubicBezTo>
                  <a:pt x="998925" y="732900"/>
                  <a:pt x="1045557" y="694173"/>
                  <a:pt x="1078488" y="645430"/>
                </a:cubicBezTo>
                <a:close/>
                <a:moveTo>
                  <a:pt x="535708" y="1909"/>
                </a:moveTo>
                <a:cubicBezTo>
                  <a:pt x="616588" y="10309"/>
                  <a:pt x="695328" y="46549"/>
                  <a:pt x="756252" y="112945"/>
                </a:cubicBezTo>
                <a:lnTo>
                  <a:pt x="804409" y="171362"/>
                </a:lnTo>
                <a:lnTo>
                  <a:pt x="763687" y="175467"/>
                </a:lnTo>
                <a:cubicBezTo>
                  <a:pt x="723924" y="183604"/>
                  <a:pt x="686976" y="199468"/>
                  <a:pt x="654480" y="221421"/>
                </a:cubicBezTo>
                <a:lnTo>
                  <a:pt x="652891" y="222732"/>
                </a:lnTo>
                <a:lnTo>
                  <a:pt x="653896" y="221802"/>
                </a:lnTo>
                <a:cubicBezTo>
                  <a:pt x="652318" y="221802"/>
                  <a:pt x="652318" y="221802"/>
                  <a:pt x="652318" y="221802"/>
                </a:cubicBezTo>
                <a:cubicBezTo>
                  <a:pt x="561341" y="270548"/>
                  <a:pt x="509345" y="361536"/>
                  <a:pt x="502811" y="458968"/>
                </a:cubicBezTo>
                <a:cubicBezTo>
                  <a:pt x="475208" y="452465"/>
                  <a:pt x="444337" y="462249"/>
                  <a:pt x="428113" y="489844"/>
                </a:cubicBezTo>
                <a:lnTo>
                  <a:pt x="338769" y="644167"/>
                </a:lnTo>
                <a:cubicBezTo>
                  <a:pt x="290041" y="728651"/>
                  <a:pt x="181150" y="757887"/>
                  <a:pt x="96707" y="709141"/>
                </a:cubicBezTo>
                <a:lnTo>
                  <a:pt x="88595" y="704278"/>
                </a:lnTo>
                <a:cubicBezTo>
                  <a:pt x="4096" y="655533"/>
                  <a:pt x="-25142" y="546734"/>
                  <a:pt x="23587" y="462249"/>
                </a:cubicBezTo>
                <a:lnTo>
                  <a:pt x="186051" y="181200"/>
                </a:lnTo>
                <a:cubicBezTo>
                  <a:pt x="260164" y="51244"/>
                  <a:pt x="400908" y="-12091"/>
                  <a:pt x="535708" y="1909"/>
                </a:cubicBezTo>
                <a:close/>
              </a:path>
            </a:pathLst>
          </a:custGeom>
          <a:solidFill>
            <a:schemeClr val="accent5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52" name="Freeform: Shape 51">
            <a:extLst>
              <a:ext uri="{FF2B5EF4-FFF2-40B4-BE49-F238E27FC236}">
                <a16:creationId xmlns:a16="http://schemas.microsoft.com/office/drawing/2014/main" id="{C4C97D5A-E68F-41E7-AA43-FA3DF2813826}"/>
              </a:ext>
            </a:extLst>
          </p:cNvPr>
          <p:cNvSpPr/>
          <p:nvPr/>
        </p:nvSpPr>
        <p:spPr>
          <a:xfrm>
            <a:off x="5471204" y="4371859"/>
            <a:ext cx="1267716" cy="916612"/>
          </a:xfrm>
          <a:custGeom>
            <a:avLst/>
            <a:gdLst>
              <a:gd name="connsiteX0" fmla="*/ 883182 w 1267716"/>
              <a:gd name="connsiteY0" fmla="*/ 6165 h 916612"/>
              <a:gd name="connsiteX1" fmla="*/ 1058643 w 1267716"/>
              <a:gd name="connsiteY1" fmla="*/ 93437 h 916612"/>
              <a:gd name="connsiteX2" fmla="*/ 1219465 w 1267716"/>
              <a:gd name="connsiteY2" fmla="*/ 371247 h 916612"/>
              <a:gd name="connsiteX3" fmla="*/ 985537 w 1267716"/>
              <a:gd name="connsiteY3" fmla="*/ 902470 h 916612"/>
              <a:gd name="connsiteX4" fmla="*/ 894904 w 1267716"/>
              <a:gd name="connsiteY4" fmla="*/ 916612 h 916612"/>
              <a:gd name="connsiteX5" fmla="*/ 915236 w 1267716"/>
              <a:gd name="connsiteY5" fmla="*/ 879153 h 916612"/>
              <a:gd name="connsiteX6" fmla="*/ 939236 w 1267716"/>
              <a:gd name="connsiteY6" fmla="*/ 760274 h 916612"/>
              <a:gd name="connsiteX7" fmla="*/ 933031 w 1267716"/>
              <a:gd name="connsiteY7" fmla="*/ 698724 h 916612"/>
              <a:gd name="connsiteX8" fmla="*/ 931837 w 1267716"/>
              <a:gd name="connsiteY8" fmla="*/ 694874 h 916612"/>
              <a:gd name="connsiteX9" fmla="*/ 927825 w 1267716"/>
              <a:gd name="connsiteY9" fmla="*/ 660024 h 916612"/>
              <a:gd name="connsiteX10" fmla="*/ 831200 w 1267716"/>
              <a:gd name="connsiteY10" fmla="*/ 504465 h 916612"/>
              <a:gd name="connsiteX11" fmla="*/ 840961 w 1267716"/>
              <a:gd name="connsiteY11" fmla="*/ 424855 h 916612"/>
              <a:gd name="connsiteX12" fmla="*/ 751609 w 1267716"/>
              <a:gd name="connsiteY12" fmla="*/ 270497 h 916612"/>
              <a:gd name="connsiteX13" fmla="*/ 816592 w 1267716"/>
              <a:gd name="connsiteY13" fmla="*/ 28456 h 916612"/>
              <a:gd name="connsiteX14" fmla="*/ 883182 w 1267716"/>
              <a:gd name="connsiteY14" fmla="*/ 6165 h 916612"/>
              <a:gd name="connsiteX15" fmla="*/ 386080 w 1267716"/>
              <a:gd name="connsiteY15" fmla="*/ 1304 h 916612"/>
              <a:gd name="connsiteX16" fmla="*/ 452697 w 1267716"/>
              <a:gd name="connsiteY16" fmla="*/ 23594 h 916612"/>
              <a:gd name="connsiteX17" fmla="*/ 460820 w 1267716"/>
              <a:gd name="connsiteY17" fmla="*/ 28456 h 916612"/>
              <a:gd name="connsiteX18" fmla="*/ 525804 w 1267716"/>
              <a:gd name="connsiteY18" fmla="*/ 270497 h 916612"/>
              <a:gd name="connsiteX19" fmla="*/ 436451 w 1267716"/>
              <a:gd name="connsiteY19" fmla="*/ 424855 h 916612"/>
              <a:gd name="connsiteX20" fmla="*/ 441299 w 1267716"/>
              <a:gd name="connsiteY20" fmla="*/ 499559 h 916612"/>
              <a:gd name="connsiteX21" fmla="*/ 340132 w 1267716"/>
              <a:gd name="connsiteY21" fmla="*/ 657884 h 916612"/>
              <a:gd name="connsiteX22" fmla="*/ 335856 w 1267716"/>
              <a:gd name="connsiteY22" fmla="*/ 694745 h 916612"/>
              <a:gd name="connsiteX23" fmla="*/ 334621 w 1267716"/>
              <a:gd name="connsiteY23" fmla="*/ 698724 h 916612"/>
              <a:gd name="connsiteX24" fmla="*/ 328416 w 1267716"/>
              <a:gd name="connsiteY24" fmla="*/ 760274 h 916612"/>
              <a:gd name="connsiteX25" fmla="*/ 352417 w 1267716"/>
              <a:gd name="connsiteY25" fmla="*/ 879153 h 916612"/>
              <a:gd name="connsiteX26" fmla="*/ 371629 w 1267716"/>
              <a:gd name="connsiteY26" fmla="*/ 914550 h 916612"/>
              <a:gd name="connsiteX27" fmla="*/ 285390 w 1267716"/>
              <a:gd name="connsiteY27" fmla="*/ 900820 h 916612"/>
              <a:gd name="connsiteX28" fmla="*/ 48187 w 1267716"/>
              <a:gd name="connsiteY28" fmla="*/ 369596 h 916612"/>
              <a:gd name="connsiteX29" fmla="*/ 210646 w 1267716"/>
              <a:gd name="connsiteY29" fmla="*/ 88576 h 916612"/>
              <a:gd name="connsiteX30" fmla="*/ 386080 w 1267716"/>
              <a:gd name="connsiteY30" fmla="*/ 1304 h 916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267716" h="916612">
                <a:moveTo>
                  <a:pt x="883182" y="6165"/>
                </a:moveTo>
                <a:cubicBezTo>
                  <a:pt x="951710" y="-2212"/>
                  <a:pt x="1022090" y="30084"/>
                  <a:pt x="1058643" y="93437"/>
                </a:cubicBezTo>
                <a:lnTo>
                  <a:pt x="1219465" y="371247"/>
                </a:lnTo>
                <a:cubicBezTo>
                  <a:pt x="1341309" y="584030"/>
                  <a:pt x="1221102" y="852073"/>
                  <a:pt x="985537" y="902470"/>
                </a:cubicBezTo>
                <a:lnTo>
                  <a:pt x="894904" y="916612"/>
                </a:lnTo>
                <a:lnTo>
                  <a:pt x="915236" y="879153"/>
                </a:lnTo>
                <a:cubicBezTo>
                  <a:pt x="930690" y="842615"/>
                  <a:pt x="939236" y="802443"/>
                  <a:pt x="939236" y="760274"/>
                </a:cubicBezTo>
                <a:cubicBezTo>
                  <a:pt x="939236" y="739190"/>
                  <a:pt x="937100" y="718605"/>
                  <a:pt x="933031" y="698724"/>
                </a:cubicBezTo>
                <a:lnTo>
                  <a:pt x="931837" y="694874"/>
                </a:lnTo>
                <a:lnTo>
                  <a:pt x="927825" y="660024"/>
                </a:lnTo>
                <a:cubicBezTo>
                  <a:pt x="913433" y="598575"/>
                  <a:pt x="878710" y="544672"/>
                  <a:pt x="831200" y="504465"/>
                </a:cubicBezTo>
                <a:cubicBezTo>
                  <a:pt x="850722" y="483325"/>
                  <a:pt x="857207" y="452462"/>
                  <a:pt x="840961" y="424855"/>
                </a:cubicBezTo>
                <a:lnTo>
                  <a:pt x="751609" y="270497"/>
                </a:lnTo>
                <a:cubicBezTo>
                  <a:pt x="702871" y="186025"/>
                  <a:pt x="732087" y="77203"/>
                  <a:pt x="816592" y="28456"/>
                </a:cubicBezTo>
                <a:cubicBezTo>
                  <a:pt x="837702" y="16269"/>
                  <a:pt x="860339" y="8958"/>
                  <a:pt x="883182" y="6165"/>
                </a:cubicBezTo>
                <a:close/>
                <a:moveTo>
                  <a:pt x="386080" y="1304"/>
                </a:moveTo>
                <a:cubicBezTo>
                  <a:pt x="408926" y="4096"/>
                  <a:pt x="431571" y="11408"/>
                  <a:pt x="452697" y="23594"/>
                </a:cubicBezTo>
                <a:lnTo>
                  <a:pt x="460820" y="28456"/>
                </a:lnTo>
                <a:cubicBezTo>
                  <a:pt x="545259" y="77203"/>
                  <a:pt x="574541" y="186025"/>
                  <a:pt x="525804" y="270497"/>
                </a:cubicBezTo>
                <a:lnTo>
                  <a:pt x="436451" y="424855"/>
                </a:lnTo>
                <a:cubicBezTo>
                  <a:pt x="421843" y="449206"/>
                  <a:pt x="425053" y="478464"/>
                  <a:pt x="441299" y="499559"/>
                </a:cubicBezTo>
                <a:cubicBezTo>
                  <a:pt x="391382" y="539766"/>
                  <a:pt x="355135" y="594598"/>
                  <a:pt x="340132" y="657884"/>
                </a:cubicBezTo>
                <a:lnTo>
                  <a:pt x="335856" y="694745"/>
                </a:lnTo>
                <a:lnTo>
                  <a:pt x="334621" y="698724"/>
                </a:lnTo>
                <a:cubicBezTo>
                  <a:pt x="330553" y="718605"/>
                  <a:pt x="328416" y="739190"/>
                  <a:pt x="328416" y="760274"/>
                </a:cubicBezTo>
                <a:cubicBezTo>
                  <a:pt x="328416" y="802443"/>
                  <a:pt x="336962" y="842615"/>
                  <a:pt x="352417" y="879153"/>
                </a:cubicBezTo>
                <a:lnTo>
                  <a:pt x="371629" y="914550"/>
                </a:lnTo>
                <a:lnTo>
                  <a:pt x="285390" y="900820"/>
                </a:lnTo>
                <a:cubicBezTo>
                  <a:pt x="46549" y="848862"/>
                  <a:pt x="-73658" y="580819"/>
                  <a:pt x="48187" y="369596"/>
                </a:cubicBezTo>
                <a:lnTo>
                  <a:pt x="210646" y="88576"/>
                </a:lnTo>
                <a:cubicBezTo>
                  <a:pt x="247199" y="25222"/>
                  <a:pt x="317542" y="-7074"/>
                  <a:pt x="386080" y="1304"/>
                </a:cubicBezTo>
                <a:close/>
              </a:path>
            </a:pathLst>
          </a:custGeom>
          <a:solidFill>
            <a:schemeClr val="accent6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id="{4C6C2F8E-BC82-44C6-AE53-336798E72E09}"/>
              </a:ext>
            </a:extLst>
          </p:cNvPr>
          <p:cNvSpPr/>
          <p:nvPr/>
        </p:nvSpPr>
        <p:spPr>
          <a:xfrm>
            <a:off x="4455533" y="3660553"/>
            <a:ext cx="1126021" cy="1190134"/>
          </a:xfrm>
          <a:custGeom>
            <a:avLst/>
            <a:gdLst>
              <a:gd name="connsiteX0" fmla="*/ 950840 w 1126021"/>
              <a:gd name="connsiteY0" fmla="*/ 458566 h 1190134"/>
              <a:gd name="connsiteX1" fmla="*/ 1017447 w 1126021"/>
              <a:gd name="connsiteY1" fmla="*/ 480872 h 1190134"/>
              <a:gd name="connsiteX2" fmla="*/ 1036948 w 1126021"/>
              <a:gd name="connsiteY2" fmla="*/ 492237 h 1190134"/>
              <a:gd name="connsiteX3" fmla="*/ 1103557 w 1126021"/>
              <a:gd name="connsiteY3" fmla="*/ 732644 h 1190134"/>
              <a:gd name="connsiteX4" fmla="*/ 942736 w 1126021"/>
              <a:gd name="connsiteY4" fmla="*/ 1010452 h 1190134"/>
              <a:gd name="connsiteX5" fmla="*/ 362763 w 1126021"/>
              <a:gd name="connsiteY5" fmla="*/ 1068901 h 1190134"/>
              <a:gd name="connsiteX6" fmla="*/ 302232 w 1126021"/>
              <a:gd name="connsiteY6" fmla="*/ 993823 h 1190134"/>
              <a:gd name="connsiteX7" fmla="*/ 302808 w 1126021"/>
              <a:gd name="connsiteY7" fmla="*/ 993881 h 1190134"/>
              <a:gd name="connsiteX8" fmla="*/ 473566 w 1126021"/>
              <a:gd name="connsiteY8" fmla="*/ 941722 h 1190134"/>
              <a:gd name="connsiteX9" fmla="*/ 477395 w 1126021"/>
              <a:gd name="connsiteY9" fmla="*/ 938562 h 1190134"/>
              <a:gd name="connsiteX10" fmla="*/ 471616 w 1126021"/>
              <a:gd name="connsiteY10" fmla="*/ 943827 h 1190134"/>
              <a:gd name="connsiteX11" fmla="*/ 473237 w 1126021"/>
              <a:gd name="connsiteY11" fmla="*/ 943827 h 1190134"/>
              <a:gd name="connsiteX12" fmla="*/ 619473 w 1126021"/>
              <a:gd name="connsiteY12" fmla="*/ 724526 h 1190134"/>
              <a:gd name="connsiteX13" fmla="*/ 690943 w 1126021"/>
              <a:gd name="connsiteY13" fmla="*/ 692055 h 1190134"/>
              <a:gd name="connsiteX14" fmla="*/ 775433 w 1126021"/>
              <a:gd name="connsiteY14" fmla="*/ 545816 h 1190134"/>
              <a:gd name="connsiteX15" fmla="*/ 950840 w 1126021"/>
              <a:gd name="connsiteY15" fmla="*/ 458566 h 1190134"/>
              <a:gd name="connsiteX16" fmla="*/ 359522 w 1126021"/>
              <a:gd name="connsiteY16" fmla="*/ 0 h 1190134"/>
              <a:gd name="connsiteX17" fmla="*/ 705584 w 1126021"/>
              <a:gd name="connsiteY17" fmla="*/ 0 h 1190134"/>
              <a:gd name="connsiteX18" fmla="*/ 882610 w 1126021"/>
              <a:gd name="connsiteY18" fmla="*/ 177087 h 1190134"/>
              <a:gd name="connsiteX19" fmla="*/ 882610 w 1126021"/>
              <a:gd name="connsiteY19" fmla="*/ 188452 h 1190134"/>
              <a:gd name="connsiteX20" fmla="*/ 705584 w 1126021"/>
              <a:gd name="connsiteY20" fmla="*/ 365481 h 1190134"/>
              <a:gd name="connsiteX21" fmla="*/ 505759 w 1126021"/>
              <a:gd name="connsiteY21" fmla="*/ 365481 h 1190134"/>
              <a:gd name="connsiteX22" fmla="*/ 444012 w 1126021"/>
              <a:gd name="connsiteY22" fmla="*/ 406129 h 1190134"/>
              <a:gd name="connsiteX23" fmla="*/ 248237 w 1126021"/>
              <a:gd name="connsiteY23" fmla="*/ 387179 h 1190134"/>
              <a:gd name="connsiteX24" fmla="*/ 243562 w 1126021"/>
              <a:gd name="connsiteY24" fmla="*/ 389034 h 1190134"/>
              <a:gd name="connsiteX25" fmla="*/ 241258 w 1126021"/>
              <a:gd name="connsiteY25" fmla="*/ 389266 h 1190134"/>
              <a:gd name="connsiteX26" fmla="*/ 49558 w 1126021"/>
              <a:gd name="connsiteY26" fmla="*/ 517714 h 1190134"/>
              <a:gd name="connsiteX27" fmla="*/ 42330 w 1126021"/>
              <a:gd name="connsiteY27" fmla="*/ 531030 h 1190134"/>
              <a:gd name="connsiteX28" fmla="*/ 16758 w 1126021"/>
              <a:gd name="connsiteY28" fmla="*/ 462955 h 1190134"/>
              <a:gd name="connsiteX29" fmla="*/ 359522 w 1126021"/>
              <a:gd name="connsiteY29" fmla="*/ 0 h 11901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126021" h="1190134">
                <a:moveTo>
                  <a:pt x="950840" y="458566"/>
                </a:moveTo>
                <a:cubicBezTo>
                  <a:pt x="973683" y="461364"/>
                  <a:pt x="996324" y="468681"/>
                  <a:pt x="1017447" y="480872"/>
                </a:cubicBezTo>
                <a:lnTo>
                  <a:pt x="1036948" y="492237"/>
                </a:lnTo>
                <a:cubicBezTo>
                  <a:pt x="1121438" y="540945"/>
                  <a:pt x="1150663" y="649783"/>
                  <a:pt x="1103557" y="732644"/>
                </a:cubicBezTo>
                <a:lnTo>
                  <a:pt x="942736" y="1010452"/>
                </a:lnTo>
                <a:cubicBezTo>
                  <a:pt x="820919" y="1223258"/>
                  <a:pt x="526881" y="1252482"/>
                  <a:pt x="362763" y="1068901"/>
                </a:cubicBezTo>
                <a:lnTo>
                  <a:pt x="302232" y="993823"/>
                </a:lnTo>
                <a:lnTo>
                  <a:pt x="302808" y="993881"/>
                </a:lnTo>
                <a:cubicBezTo>
                  <a:pt x="366061" y="993881"/>
                  <a:pt x="424822" y="974653"/>
                  <a:pt x="473566" y="941722"/>
                </a:cubicBezTo>
                <a:lnTo>
                  <a:pt x="477395" y="938562"/>
                </a:lnTo>
                <a:lnTo>
                  <a:pt x="471616" y="943827"/>
                </a:lnTo>
                <a:cubicBezTo>
                  <a:pt x="473237" y="943827"/>
                  <a:pt x="473237" y="943827"/>
                  <a:pt x="473237" y="943827"/>
                </a:cubicBezTo>
                <a:cubicBezTo>
                  <a:pt x="556106" y="898366"/>
                  <a:pt x="608074" y="815505"/>
                  <a:pt x="619473" y="724526"/>
                </a:cubicBezTo>
                <a:cubicBezTo>
                  <a:pt x="647078" y="729397"/>
                  <a:pt x="676303" y="718032"/>
                  <a:pt x="690943" y="692055"/>
                </a:cubicBezTo>
                <a:lnTo>
                  <a:pt x="775433" y="545816"/>
                </a:lnTo>
                <a:cubicBezTo>
                  <a:pt x="811978" y="482452"/>
                  <a:pt x="882313" y="450173"/>
                  <a:pt x="950840" y="458566"/>
                </a:cubicBezTo>
                <a:close/>
                <a:moveTo>
                  <a:pt x="359522" y="0"/>
                </a:moveTo>
                <a:lnTo>
                  <a:pt x="705584" y="0"/>
                </a:lnTo>
                <a:cubicBezTo>
                  <a:pt x="803037" y="0"/>
                  <a:pt x="882610" y="79614"/>
                  <a:pt x="882610" y="177087"/>
                </a:cubicBezTo>
                <a:lnTo>
                  <a:pt x="882610" y="188452"/>
                </a:lnTo>
                <a:cubicBezTo>
                  <a:pt x="882610" y="285926"/>
                  <a:pt x="803037" y="365481"/>
                  <a:pt x="705584" y="365481"/>
                </a:cubicBezTo>
                <a:lnTo>
                  <a:pt x="505759" y="365481"/>
                </a:lnTo>
                <a:cubicBezTo>
                  <a:pt x="476478" y="365481"/>
                  <a:pt x="453735" y="383399"/>
                  <a:pt x="444012" y="406129"/>
                </a:cubicBezTo>
                <a:cubicBezTo>
                  <a:pt x="383076" y="378122"/>
                  <a:pt x="313935" y="370207"/>
                  <a:pt x="248237" y="387179"/>
                </a:cubicBezTo>
                <a:lnTo>
                  <a:pt x="243562" y="389034"/>
                </a:lnTo>
                <a:lnTo>
                  <a:pt x="241258" y="389266"/>
                </a:lnTo>
                <a:cubicBezTo>
                  <a:pt x="161732" y="405539"/>
                  <a:pt x="93465" y="452722"/>
                  <a:pt x="49558" y="517714"/>
                </a:cubicBezTo>
                <a:lnTo>
                  <a:pt x="42330" y="531030"/>
                </a:lnTo>
                <a:lnTo>
                  <a:pt x="16758" y="462955"/>
                </a:lnTo>
                <a:cubicBezTo>
                  <a:pt x="-56333" y="233913"/>
                  <a:pt x="119129" y="0"/>
                  <a:pt x="359522" y="0"/>
                </a:cubicBezTo>
                <a:close/>
              </a:path>
            </a:pathLst>
          </a:custGeom>
          <a:solidFill>
            <a:schemeClr val="accent2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id="{4044EB85-CB63-4567-BAC2-E35FAB8318AF}"/>
              </a:ext>
            </a:extLst>
          </p:cNvPr>
          <p:cNvSpPr/>
          <p:nvPr/>
        </p:nvSpPr>
        <p:spPr>
          <a:xfrm>
            <a:off x="6596299" y="3660553"/>
            <a:ext cx="1135938" cy="1200682"/>
          </a:xfrm>
          <a:custGeom>
            <a:avLst/>
            <a:gdLst>
              <a:gd name="connsiteX0" fmla="*/ 182807 w 1135938"/>
              <a:gd name="connsiteY0" fmla="*/ 458559 h 1200682"/>
              <a:gd name="connsiteX1" fmla="*/ 358261 w 1135938"/>
              <a:gd name="connsiteY1" fmla="*/ 545852 h 1200682"/>
              <a:gd name="connsiteX2" fmla="*/ 442702 w 1135938"/>
              <a:gd name="connsiteY2" fmla="*/ 692013 h 1200682"/>
              <a:gd name="connsiteX3" fmla="*/ 504468 w 1135938"/>
              <a:gd name="connsiteY3" fmla="*/ 724545 h 1200682"/>
              <a:gd name="connsiteX4" fmla="*/ 650676 w 1135938"/>
              <a:gd name="connsiteY4" fmla="*/ 943846 h 1200682"/>
              <a:gd name="connsiteX5" fmla="*/ 652312 w 1135938"/>
              <a:gd name="connsiteY5" fmla="*/ 943846 h 1200682"/>
              <a:gd name="connsiteX6" fmla="*/ 602145 w 1135938"/>
              <a:gd name="connsiteY6" fmla="*/ 898510 h 1200682"/>
              <a:gd name="connsiteX7" fmla="*/ 588921 w 1135938"/>
              <a:gd name="connsiteY7" fmla="*/ 879709 h 1200682"/>
              <a:gd name="connsiteX8" fmla="*/ 609316 w 1135938"/>
              <a:gd name="connsiteY8" fmla="*/ 904429 h 1200682"/>
              <a:gd name="connsiteX9" fmla="*/ 825273 w 1135938"/>
              <a:gd name="connsiteY9" fmla="*/ 993881 h 1200682"/>
              <a:gd name="connsiteX10" fmla="*/ 834865 w 1135938"/>
              <a:gd name="connsiteY10" fmla="*/ 992914 h 1200682"/>
              <a:gd name="connsiteX11" fmla="*/ 756270 w 1135938"/>
              <a:gd name="connsiteY11" fmla="*/ 1088427 h 1200682"/>
              <a:gd name="connsiteX12" fmla="*/ 186049 w 1135938"/>
              <a:gd name="connsiteY12" fmla="*/ 1020144 h 1200682"/>
              <a:gd name="connsiteX13" fmla="*/ 23596 w 1135938"/>
              <a:gd name="connsiteY13" fmla="*/ 739115 h 1200682"/>
              <a:gd name="connsiteX14" fmla="*/ 88578 w 1135938"/>
              <a:gd name="connsiteY14" fmla="*/ 497112 h 1200682"/>
              <a:gd name="connsiteX15" fmla="*/ 116217 w 1135938"/>
              <a:gd name="connsiteY15" fmla="*/ 480846 h 1200682"/>
              <a:gd name="connsiteX16" fmla="*/ 182807 w 1135938"/>
              <a:gd name="connsiteY16" fmla="*/ 458559 h 1200682"/>
              <a:gd name="connsiteX17" fmla="*/ 431364 w 1135938"/>
              <a:gd name="connsiteY17" fmla="*/ 0 h 1200682"/>
              <a:gd name="connsiteX18" fmla="*/ 777366 w 1135938"/>
              <a:gd name="connsiteY18" fmla="*/ 0 h 1200682"/>
              <a:gd name="connsiteX19" fmla="*/ 1118517 w 1135938"/>
              <a:gd name="connsiteY19" fmla="*/ 464580 h 1200682"/>
              <a:gd name="connsiteX20" fmla="*/ 1090118 w 1135938"/>
              <a:gd name="connsiteY20" fmla="*/ 539075 h 1200682"/>
              <a:gd name="connsiteX21" fmla="*/ 1078524 w 1135938"/>
              <a:gd name="connsiteY21" fmla="*/ 517714 h 1200682"/>
              <a:gd name="connsiteX22" fmla="*/ 886824 w 1135938"/>
              <a:gd name="connsiteY22" fmla="*/ 389266 h 1200682"/>
              <a:gd name="connsiteX23" fmla="*/ 882266 w 1135938"/>
              <a:gd name="connsiteY23" fmla="*/ 388807 h 1200682"/>
              <a:gd name="connsiteX24" fmla="*/ 879726 w 1135938"/>
              <a:gd name="connsiteY24" fmla="*/ 387785 h 1200682"/>
              <a:gd name="connsiteX25" fmla="*/ 689653 w 1135938"/>
              <a:gd name="connsiteY25" fmla="*/ 402850 h 1200682"/>
              <a:gd name="connsiteX26" fmla="*/ 631159 w 1135938"/>
              <a:gd name="connsiteY26" fmla="*/ 365520 h 1200682"/>
              <a:gd name="connsiteX27" fmla="*/ 431364 w 1135938"/>
              <a:gd name="connsiteY27" fmla="*/ 365520 h 1200682"/>
              <a:gd name="connsiteX28" fmla="*/ 254302 w 1135938"/>
              <a:gd name="connsiteY28" fmla="*/ 188465 h 1200682"/>
              <a:gd name="connsiteX29" fmla="*/ 254302 w 1135938"/>
              <a:gd name="connsiteY29" fmla="*/ 177055 h 1200682"/>
              <a:gd name="connsiteX30" fmla="*/ 431364 w 1135938"/>
              <a:gd name="connsiteY30" fmla="*/ 0 h 1200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1135938" h="1200682">
                <a:moveTo>
                  <a:pt x="182807" y="458559"/>
                </a:moveTo>
                <a:cubicBezTo>
                  <a:pt x="251334" y="450186"/>
                  <a:pt x="321709" y="482484"/>
                  <a:pt x="358261" y="545852"/>
                </a:cubicBezTo>
                <a:lnTo>
                  <a:pt x="442702" y="692013"/>
                </a:lnTo>
                <a:cubicBezTo>
                  <a:pt x="455732" y="714774"/>
                  <a:pt x="480100" y="726125"/>
                  <a:pt x="504468" y="724545"/>
                </a:cubicBezTo>
                <a:cubicBezTo>
                  <a:pt x="515806" y="815472"/>
                  <a:pt x="566178" y="898324"/>
                  <a:pt x="650676" y="943846"/>
                </a:cubicBezTo>
                <a:cubicBezTo>
                  <a:pt x="652312" y="943846"/>
                  <a:pt x="652312" y="943846"/>
                  <a:pt x="652312" y="943846"/>
                </a:cubicBezTo>
                <a:cubicBezTo>
                  <a:pt x="633627" y="930432"/>
                  <a:pt x="616870" y="915193"/>
                  <a:pt x="602145" y="898510"/>
                </a:cubicBezTo>
                <a:lnTo>
                  <a:pt x="588921" y="879709"/>
                </a:lnTo>
                <a:lnTo>
                  <a:pt x="609316" y="904429"/>
                </a:lnTo>
                <a:cubicBezTo>
                  <a:pt x="664584" y="959697"/>
                  <a:pt x="740937" y="993881"/>
                  <a:pt x="825273" y="993881"/>
                </a:cubicBezTo>
                <a:lnTo>
                  <a:pt x="834865" y="992914"/>
                </a:lnTo>
                <a:lnTo>
                  <a:pt x="756270" y="1088427"/>
                </a:lnTo>
                <a:cubicBezTo>
                  <a:pt x="593817" y="1263844"/>
                  <a:pt x="306253" y="1228093"/>
                  <a:pt x="186049" y="1020144"/>
                </a:cubicBezTo>
                <a:lnTo>
                  <a:pt x="23596" y="739115"/>
                </a:lnTo>
                <a:cubicBezTo>
                  <a:pt x="-25140" y="654683"/>
                  <a:pt x="4080" y="545852"/>
                  <a:pt x="88578" y="497112"/>
                </a:cubicBezTo>
                <a:lnTo>
                  <a:pt x="116217" y="480846"/>
                </a:lnTo>
                <a:cubicBezTo>
                  <a:pt x="137328" y="468661"/>
                  <a:pt x="159965" y="461351"/>
                  <a:pt x="182807" y="458559"/>
                </a:cubicBezTo>
                <a:close/>
                <a:moveTo>
                  <a:pt x="431364" y="0"/>
                </a:moveTo>
                <a:lnTo>
                  <a:pt x="777366" y="0"/>
                </a:lnTo>
                <a:cubicBezTo>
                  <a:pt x="1017830" y="0"/>
                  <a:pt x="1193257" y="235567"/>
                  <a:pt x="1118517" y="464580"/>
                </a:cubicBezTo>
                <a:lnTo>
                  <a:pt x="1090118" y="539075"/>
                </a:lnTo>
                <a:lnTo>
                  <a:pt x="1078524" y="517714"/>
                </a:lnTo>
                <a:cubicBezTo>
                  <a:pt x="1034616" y="452722"/>
                  <a:pt x="966350" y="405539"/>
                  <a:pt x="886824" y="389266"/>
                </a:cubicBezTo>
                <a:lnTo>
                  <a:pt x="882266" y="388807"/>
                </a:lnTo>
                <a:lnTo>
                  <a:pt x="879726" y="387785"/>
                </a:lnTo>
                <a:cubicBezTo>
                  <a:pt x="816368" y="370870"/>
                  <a:pt x="749346" y="377266"/>
                  <a:pt x="689653" y="402850"/>
                </a:cubicBezTo>
                <a:cubicBezTo>
                  <a:pt x="679895" y="381728"/>
                  <a:pt x="658798" y="365520"/>
                  <a:pt x="631159" y="365520"/>
                </a:cubicBezTo>
                <a:lnTo>
                  <a:pt x="431364" y="365520"/>
                </a:lnTo>
                <a:cubicBezTo>
                  <a:pt x="333893" y="365520"/>
                  <a:pt x="254302" y="285886"/>
                  <a:pt x="254302" y="188465"/>
                </a:cubicBezTo>
                <a:lnTo>
                  <a:pt x="254302" y="177055"/>
                </a:lnTo>
                <a:cubicBezTo>
                  <a:pt x="254302" y="79575"/>
                  <a:pt x="333893" y="0"/>
                  <a:pt x="431364" y="0"/>
                </a:cubicBezTo>
                <a:close/>
              </a:path>
            </a:pathLst>
          </a:custGeom>
          <a:solidFill>
            <a:schemeClr val="accent3"/>
          </a:solidFill>
          <a:ln w="12700">
            <a:miter lim="400000"/>
          </a:ln>
        </p:spPr>
        <p:txBody>
          <a:bodyPr wrap="square" lIns="38100" tIns="38100" rIns="38100" bIns="38100" anchor="ctr">
            <a:noAutofit/>
          </a:bodyPr>
          <a:lstStyle/>
          <a:p>
            <a:pPr>
              <a:defRPr sz="300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</a:defRPr>
            </a:pPr>
            <a:endParaRPr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2BFAE1-45D3-4B3B-81D2-0BF25FA84F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9999" y="109199"/>
            <a:ext cx="11873200" cy="739056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002C5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Content Areas</a:t>
            </a:r>
            <a:endParaRPr kumimoji="0" lang="en-US" sz="2800" b="1" i="1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002C5F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55" name="Circle">
            <a:extLst>
              <a:ext uri="{FF2B5EF4-FFF2-40B4-BE49-F238E27FC236}">
                <a16:creationId xmlns:a16="http://schemas.microsoft.com/office/drawing/2014/main" id="{0019BF82-8302-4591-95AD-959A5F8EF456}"/>
              </a:ext>
            </a:extLst>
          </p:cNvPr>
          <p:cNvSpPr/>
          <p:nvPr/>
        </p:nvSpPr>
        <p:spPr>
          <a:xfrm>
            <a:off x="5790591" y="1728384"/>
            <a:ext cx="610819" cy="61081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algn="ctr"/>
            <a:r>
              <a:rPr lang="en-US" sz="2000" b="1">
                <a:solidFill>
                  <a:prstClr val="white">
                    <a:lumMod val="95000"/>
                  </a:prstClr>
                </a:solidFill>
                <a:latin typeface="Calibri" panose="020F0502020204030204"/>
              </a:rPr>
              <a:t>01</a:t>
            </a:r>
            <a:endParaRPr sz="2000" b="1">
              <a:solidFill>
                <a:prstClr val="white">
                  <a:lumMod val="95000"/>
                </a:prstClr>
              </a:solidFill>
              <a:latin typeface="Calibri" panose="020F0502020204030204"/>
            </a:endParaRPr>
          </a:p>
        </p:txBody>
      </p:sp>
      <p:sp>
        <p:nvSpPr>
          <p:cNvPr id="56" name="Circle">
            <a:extLst>
              <a:ext uri="{FF2B5EF4-FFF2-40B4-BE49-F238E27FC236}">
                <a16:creationId xmlns:a16="http://schemas.microsoft.com/office/drawing/2014/main" id="{4590EAA3-4AC6-4EB2-AE56-C46B5F27BF2C}"/>
              </a:ext>
            </a:extLst>
          </p:cNvPr>
          <p:cNvSpPr/>
          <p:nvPr/>
        </p:nvSpPr>
        <p:spPr>
          <a:xfrm>
            <a:off x="4446106" y="2503373"/>
            <a:ext cx="610819" cy="61081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algn="ctr"/>
            <a:r>
              <a:rPr lang="en-US" sz="2000" b="1">
                <a:solidFill>
                  <a:prstClr val="white">
                    <a:lumMod val="95000"/>
                  </a:prstClr>
                </a:solidFill>
                <a:latin typeface="Calibri" panose="020F0502020204030204"/>
              </a:rPr>
              <a:t>06</a:t>
            </a:r>
            <a:endParaRPr sz="2000" b="1">
              <a:solidFill>
                <a:prstClr val="white">
                  <a:lumMod val="95000"/>
                </a:prstClr>
              </a:solidFill>
              <a:latin typeface="Calibri" panose="020F0502020204030204"/>
            </a:endParaRPr>
          </a:p>
        </p:txBody>
      </p:sp>
      <p:sp>
        <p:nvSpPr>
          <p:cNvPr id="57" name="Circle">
            <a:extLst>
              <a:ext uri="{FF2B5EF4-FFF2-40B4-BE49-F238E27FC236}">
                <a16:creationId xmlns:a16="http://schemas.microsoft.com/office/drawing/2014/main" id="{B9A53DCC-81B0-4639-B436-AB879A5C8D84}"/>
              </a:ext>
            </a:extLst>
          </p:cNvPr>
          <p:cNvSpPr/>
          <p:nvPr/>
        </p:nvSpPr>
        <p:spPr>
          <a:xfrm>
            <a:off x="7116162" y="2503373"/>
            <a:ext cx="610819" cy="61081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algn="ctr"/>
            <a:r>
              <a:rPr lang="en-US" sz="2000" b="1">
                <a:solidFill>
                  <a:prstClr val="white">
                    <a:lumMod val="95000"/>
                  </a:prstClr>
                </a:solidFill>
                <a:latin typeface="Calibri" panose="020F0502020204030204"/>
              </a:rPr>
              <a:t>02</a:t>
            </a:r>
            <a:endParaRPr sz="2000" b="1">
              <a:solidFill>
                <a:prstClr val="white">
                  <a:lumMod val="95000"/>
                </a:prstClr>
              </a:solidFill>
              <a:latin typeface="Calibri" panose="020F0502020204030204"/>
            </a:endParaRPr>
          </a:p>
        </p:txBody>
      </p:sp>
      <p:sp>
        <p:nvSpPr>
          <p:cNvPr id="58" name="Circle">
            <a:extLst>
              <a:ext uri="{FF2B5EF4-FFF2-40B4-BE49-F238E27FC236}">
                <a16:creationId xmlns:a16="http://schemas.microsoft.com/office/drawing/2014/main" id="{F5B4CAC9-C603-4C9E-9336-4C9A36FCA0BC}"/>
              </a:ext>
            </a:extLst>
          </p:cNvPr>
          <p:cNvSpPr/>
          <p:nvPr/>
        </p:nvSpPr>
        <p:spPr>
          <a:xfrm>
            <a:off x="5799621" y="4826723"/>
            <a:ext cx="610819" cy="61081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algn="ctr"/>
            <a:r>
              <a:rPr lang="en-US" sz="2000" b="1">
                <a:solidFill>
                  <a:prstClr val="white">
                    <a:lumMod val="95000"/>
                  </a:prstClr>
                </a:solidFill>
                <a:latin typeface="Calibri" panose="020F0502020204030204"/>
              </a:rPr>
              <a:t>04</a:t>
            </a:r>
            <a:endParaRPr sz="2000" b="1">
              <a:solidFill>
                <a:prstClr val="white">
                  <a:lumMod val="95000"/>
                </a:prstClr>
              </a:solidFill>
              <a:latin typeface="Calibri" panose="020F0502020204030204"/>
            </a:endParaRPr>
          </a:p>
        </p:txBody>
      </p:sp>
      <p:sp>
        <p:nvSpPr>
          <p:cNvPr id="59" name="Circle">
            <a:extLst>
              <a:ext uri="{FF2B5EF4-FFF2-40B4-BE49-F238E27FC236}">
                <a16:creationId xmlns:a16="http://schemas.microsoft.com/office/drawing/2014/main" id="{80E7F21A-89A2-4E94-8884-FC98CD81C63C}"/>
              </a:ext>
            </a:extLst>
          </p:cNvPr>
          <p:cNvSpPr/>
          <p:nvPr/>
        </p:nvSpPr>
        <p:spPr>
          <a:xfrm>
            <a:off x="4452930" y="4043614"/>
            <a:ext cx="610819" cy="61081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algn="ctr"/>
            <a:r>
              <a:rPr lang="en-US" sz="2000" b="1">
                <a:solidFill>
                  <a:prstClr val="white">
                    <a:lumMod val="95000"/>
                  </a:prstClr>
                </a:solidFill>
                <a:latin typeface="Calibri" panose="020F0502020204030204"/>
              </a:rPr>
              <a:t>05</a:t>
            </a:r>
            <a:endParaRPr sz="2000" b="1">
              <a:solidFill>
                <a:prstClr val="white">
                  <a:lumMod val="95000"/>
                </a:prstClr>
              </a:solidFill>
              <a:latin typeface="Calibri" panose="020F0502020204030204"/>
            </a:endParaRPr>
          </a:p>
        </p:txBody>
      </p:sp>
      <p:sp>
        <p:nvSpPr>
          <p:cNvPr id="60" name="Circle">
            <a:extLst>
              <a:ext uri="{FF2B5EF4-FFF2-40B4-BE49-F238E27FC236}">
                <a16:creationId xmlns:a16="http://schemas.microsoft.com/office/drawing/2014/main" id="{2CE7B57E-D61F-46E2-A40A-05AE12C7A1B1}"/>
              </a:ext>
            </a:extLst>
          </p:cNvPr>
          <p:cNvSpPr/>
          <p:nvPr/>
        </p:nvSpPr>
        <p:spPr>
          <a:xfrm>
            <a:off x="7116163" y="4043614"/>
            <a:ext cx="610819" cy="610819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 w="12700">
            <a:miter lim="400000"/>
          </a:ln>
        </p:spPr>
        <p:txBody>
          <a:bodyPr lIns="38100" tIns="38100" rIns="38100" bIns="38100" anchor="ctr"/>
          <a:lstStyle/>
          <a:p>
            <a:pPr algn="ctr"/>
            <a:r>
              <a:rPr lang="en-US" sz="2000" b="1">
                <a:solidFill>
                  <a:prstClr val="white">
                    <a:lumMod val="95000"/>
                  </a:prstClr>
                </a:solidFill>
                <a:latin typeface="Calibri" panose="020F0502020204030204"/>
              </a:rPr>
              <a:t>03</a:t>
            </a:r>
            <a:endParaRPr sz="2000" b="1">
              <a:solidFill>
                <a:prstClr val="white">
                  <a:lumMod val="95000"/>
                </a:prstClr>
              </a:solidFill>
              <a:latin typeface="Calibri" panose="020F0502020204030204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650D23C-9206-AE6E-4DD7-13FE196B0D9E}"/>
              </a:ext>
            </a:extLst>
          </p:cNvPr>
          <p:cNvSpPr txBox="1"/>
          <p:nvPr/>
        </p:nvSpPr>
        <p:spPr>
          <a:xfrm>
            <a:off x="7926558" y="2443058"/>
            <a:ext cx="4172631" cy="1200329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>
                <a:ln>
                  <a:noFill/>
                </a:ln>
                <a:solidFill>
                  <a:srgbClr val="BBA66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ervice delivery, including co-delivery with other interven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6114E67-159A-DB85-8807-FC583BD8D016}"/>
              </a:ext>
            </a:extLst>
          </p:cNvPr>
          <p:cNvSpPr txBox="1"/>
          <p:nvPr/>
        </p:nvSpPr>
        <p:spPr>
          <a:xfrm>
            <a:off x="6966819" y="1649783"/>
            <a:ext cx="5527283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>
                <a:ln>
                  <a:noFill/>
                </a:ln>
                <a:solidFill>
                  <a:srgbClr val="008DC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overnance, planning &amp; financing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FA85C5-F284-040A-3C65-383BFB6258B2}"/>
              </a:ext>
            </a:extLst>
          </p:cNvPr>
          <p:cNvSpPr txBox="1"/>
          <p:nvPr/>
        </p:nvSpPr>
        <p:spPr>
          <a:xfrm>
            <a:off x="7889128" y="4507012"/>
            <a:ext cx="2926080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upply chain &amp; waste managemen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3260434-2570-F1EE-01DC-EEBB1576ECF0}"/>
              </a:ext>
            </a:extLst>
          </p:cNvPr>
          <p:cNvSpPr txBox="1"/>
          <p:nvPr/>
        </p:nvSpPr>
        <p:spPr>
          <a:xfrm>
            <a:off x="195321" y="2472330"/>
            <a:ext cx="3997676" cy="461665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Data systems &amp; monitor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3C89FFB-CEF7-2486-8059-37149D4051FD}"/>
              </a:ext>
            </a:extLst>
          </p:cNvPr>
          <p:cNvSpPr txBox="1"/>
          <p:nvPr/>
        </p:nvSpPr>
        <p:spPr>
          <a:xfrm>
            <a:off x="195321" y="3676015"/>
            <a:ext cx="3583867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>
                <a:ln>
                  <a:noFill/>
                </a:ln>
                <a:solidFill>
                  <a:srgbClr val="94D502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mand &amp; community engageme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8B48AD1-410C-A65E-68A4-4C98025E21B6}"/>
              </a:ext>
            </a:extLst>
          </p:cNvPr>
          <p:cNvSpPr txBox="1"/>
          <p:nvPr/>
        </p:nvSpPr>
        <p:spPr>
          <a:xfrm>
            <a:off x="2793843" y="5271781"/>
            <a:ext cx="4322319" cy="830997"/>
          </a:xfrm>
          <a:prstGeom prst="rect">
            <a:avLst/>
          </a:prstGeom>
          <a:noFill/>
        </p:spPr>
        <p:txBody>
          <a:bodyPr wrap="square" lIns="0" r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1">
                <a:ln>
                  <a:noFill/>
                </a:ln>
                <a:solidFill>
                  <a:srgbClr val="D5D5D5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man resource management &amp; train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90079E2-1340-FC39-CE72-70CEC7A09739}"/>
              </a:ext>
            </a:extLst>
          </p:cNvPr>
          <p:cNvSpPr txBox="1"/>
          <p:nvPr/>
        </p:nvSpPr>
        <p:spPr>
          <a:xfrm>
            <a:off x="399999" y="915198"/>
            <a:ext cx="11270385" cy="533044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None/>
            </a:pPr>
            <a:r>
              <a:rPr lang="en-GB" sz="2000" b="1" dirty="0"/>
              <a:t>Country examples of </a:t>
            </a:r>
            <a:r>
              <a:rPr lang="en-US" sz="2000" b="1" dirty="0"/>
              <a:t>good practices and innovation to mainstream/integrate COVID-19 vaccination </a:t>
            </a:r>
            <a:r>
              <a:rPr lang="en-GB" sz="2000" b="1" dirty="0"/>
              <a:t>are provided in the following thematic areas:</a:t>
            </a:r>
          </a:p>
        </p:txBody>
      </p:sp>
    </p:spTree>
    <p:extLst>
      <p:ext uri="{BB962C8B-B14F-4D97-AF65-F5344CB8AC3E}">
        <p14:creationId xmlns:p14="http://schemas.microsoft.com/office/powerpoint/2010/main" val="38516342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BCA0805-B91D-54A7-92D9-1C05312DA5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1. Governance, planning &amp; financing</a:t>
            </a:r>
          </a:p>
        </p:txBody>
      </p:sp>
    </p:spTree>
    <p:extLst>
      <p:ext uri="{BB962C8B-B14F-4D97-AF65-F5344CB8AC3E}">
        <p14:creationId xmlns:p14="http://schemas.microsoft.com/office/powerpoint/2010/main" val="37725049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CA0FD38-7185-EEBC-9A2F-3FA39FABED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197613"/>
            <a:ext cx="11082528" cy="769441"/>
          </a:xfrm>
        </p:spPr>
        <p:txBody>
          <a:bodyPr/>
          <a:lstStyle/>
          <a:p>
            <a:r>
              <a:rPr lang="en-GB" dirty="0"/>
              <a:t>Good practices and innovation to mainstream/integrate COVID-19 vaccination</a:t>
            </a:r>
            <a:r>
              <a:rPr lang="en-GB" dirty="0">
                <a:latin typeface="Arial"/>
              </a:rPr>
              <a:t> </a:t>
            </a:r>
            <a:endParaRPr lang="en-GB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5298AE8-C32E-C209-A08B-20C43A08EB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4736" y="1103539"/>
            <a:ext cx="11082527" cy="246221"/>
          </a:xfrm>
        </p:spPr>
        <p:txBody>
          <a:bodyPr/>
          <a:lstStyle/>
          <a:p>
            <a:r>
              <a:rPr lang="en-GB" dirty="0"/>
              <a:t>GOVERNANCE, PLANNING &amp; FINANCING</a:t>
            </a: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F21FB4C1-E604-190E-19E3-27C42A0F1425}"/>
              </a:ext>
            </a:extLst>
          </p:cNvPr>
          <p:cNvGraphicFramePr/>
          <p:nvPr/>
        </p:nvGraphicFramePr>
        <p:xfrm>
          <a:off x="250808" y="1726271"/>
          <a:ext cx="5527963" cy="4536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9AE0DC5E-5748-E8E9-EF5D-E39C595B8AED}"/>
              </a:ext>
            </a:extLst>
          </p:cNvPr>
          <p:cNvGraphicFramePr/>
          <p:nvPr/>
        </p:nvGraphicFramePr>
        <p:xfrm>
          <a:off x="6331189" y="1226650"/>
          <a:ext cx="5527963" cy="4536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22161465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8B8DED0-7ECF-9C5B-3B70-C5A871F6E2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2602" y="1809754"/>
            <a:ext cx="9726795" cy="1169551"/>
          </a:xfrm>
        </p:spPr>
        <p:txBody>
          <a:bodyPr/>
          <a:lstStyle/>
          <a:p>
            <a:r>
              <a:rPr lang="en-GB" dirty="0"/>
              <a:t>2. Service delivery, </a:t>
            </a:r>
            <a:r>
              <a:rPr lang="en-US" dirty="0"/>
              <a:t>including co-delivery with other intervention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02001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CA0FD38-7185-EEBC-9A2F-3FA39FABED1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4736" y="197613"/>
            <a:ext cx="11082528" cy="769441"/>
          </a:xfrm>
        </p:spPr>
        <p:txBody>
          <a:bodyPr/>
          <a:lstStyle/>
          <a:p>
            <a:r>
              <a:rPr lang="en-GB" dirty="0"/>
              <a:t>Good practices and innovation to mainstream/integrate COVID-19 vaccination</a:t>
            </a:r>
            <a:r>
              <a:rPr lang="en-GB" dirty="0">
                <a:latin typeface="Arial"/>
              </a:rPr>
              <a:t> </a:t>
            </a:r>
            <a:endParaRPr lang="en-GB" dirty="0">
              <a:highlight>
                <a:srgbClr val="FFFF00"/>
              </a:highlight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5298AE8-C32E-C209-A08B-20C43A08EB29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980429"/>
            <a:ext cx="11082527" cy="246221"/>
          </a:xfrm>
        </p:spPr>
        <p:txBody>
          <a:bodyPr/>
          <a:lstStyle/>
          <a:p>
            <a:r>
              <a:rPr lang="en-GB" dirty="0"/>
              <a:t>SERVICE DELIVERY (1/3)</a:t>
            </a:r>
            <a:endParaRPr lang="en-GB" dirty="0">
              <a:highlight>
                <a:srgbClr val="FFFF00"/>
              </a:highlight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F21FB4C1-E604-190E-19E3-27C42A0F14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56980226"/>
              </p:ext>
            </p:extLst>
          </p:nvPr>
        </p:nvGraphicFramePr>
        <p:xfrm>
          <a:off x="415637" y="1226650"/>
          <a:ext cx="5892799" cy="4536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3D7F747-FD52-83D3-D61B-9CB903904C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64259374"/>
              </p:ext>
            </p:extLst>
          </p:nvPr>
        </p:nvGraphicFramePr>
        <p:xfrm>
          <a:off x="6424163" y="1160579"/>
          <a:ext cx="5767837" cy="4536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6376421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CA0FD38-7185-EEBC-9A2F-3FA39FABED1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54736" y="78846"/>
            <a:ext cx="11082528" cy="769441"/>
          </a:xfrm>
        </p:spPr>
        <p:txBody>
          <a:bodyPr/>
          <a:lstStyle/>
          <a:p>
            <a:r>
              <a:rPr lang="en-GB" dirty="0"/>
              <a:t>Good practices and innovation to mainstream/integrate COVID-19 vaccination</a:t>
            </a:r>
            <a:r>
              <a:rPr lang="en-GB" dirty="0">
                <a:latin typeface="Arial"/>
              </a:rPr>
              <a:t> </a:t>
            </a:r>
            <a:endParaRPr lang="en-GB" dirty="0">
              <a:highlight>
                <a:srgbClr val="FFFF00"/>
              </a:highlight>
            </a:endParaRP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C5298AE8-C32E-C209-A08B-20C43A08EB29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6" y="848287"/>
            <a:ext cx="11082527" cy="246221"/>
          </a:xfrm>
        </p:spPr>
        <p:txBody>
          <a:bodyPr/>
          <a:lstStyle/>
          <a:p>
            <a:r>
              <a:rPr lang="en-GB" dirty="0"/>
              <a:t>SERVICE DELIVERY (2/3) </a:t>
            </a:r>
            <a:endParaRPr lang="en-GB" dirty="0">
              <a:highlight>
                <a:srgbClr val="FFFF00"/>
              </a:highlight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F21FB4C1-E604-190E-19E3-27C42A0F14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24459688"/>
              </p:ext>
            </p:extLst>
          </p:nvPr>
        </p:nvGraphicFramePr>
        <p:xfrm>
          <a:off x="415637" y="1226650"/>
          <a:ext cx="5892799" cy="4536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3D7F747-FD52-83D3-D61B-9CB903904C7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54903548"/>
              </p:ext>
            </p:extLst>
          </p:nvPr>
        </p:nvGraphicFramePr>
        <p:xfrm>
          <a:off x="6424163" y="1160579"/>
          <a:ext cx="5767837" cy="4536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33115175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itle 5">
            <a:extLst>
              <a:ext uri="{FF2B5EF4-FFF2-40B4-BE49-F238E27FC236}">
                <a16:creationId xmlns:a16="http://schemas.microsoft.com/office/drawing/2014/main" id="{C5298AE8-C32E-C209-A08B-20C43A08EB29}"/>
              </a:ext>
            </a:extLst>
          </p:cNvPr>
          <p:cNvSpPr>
            <a:spLocks noGrp="1"/>
          </p:cNvSpPr>
          <p:nvPr>
            <p:ph type="subTitle" idx="4294967295"/>
          </p:nvPr>
        </p:nvSpPr>
        <p:spPr>
          <a:xfrm>
            <a:off x="554737" y="980429"/>
            <a:ext cx="11082527" cy="246221"/>
          </a:xfrm>
        </p:spPr>
        <p:txBody>
          <a:bodyPr/>
          <a:lstStyle/>
          <a:p>
            <a:r>
              <a:rPr lang="en-GB" dirty="0"/>
              <a:t>SERVICE DELIVERY (3/3)</a:t>
            </a:r>
            <a:endParaRPr lang="en-GB" dirty="0">
              <a:highlight>
                <a:srgbClr val="FFFF00"/>
              </a:highlight>
            </a:endParaRPr>
          </a:p>
        </p:txBody>
      </p:sp>
      <p:graphicFrame>
        <p:nvGraphicFramePr>
          <p:cNvPr id="8" name="Diagram 7">
            <a:extLst>
              <a:ext uri="{FF2B5EF4-FFF2-40B4-BE49-F238E27FC236}">
                <a16:creationId xmlns:a16="http://schemas.microsoft.com/office/drawing/2014/main" id="{F21FB4C1-E604-190E-19E3-27C42A0F1425}"/>
              </a:ext>
            </a:extLst>
          </p:cNvPr>
          <p:cNvGraphicFramePr/>
          <p:nvPr/>
        </p:nvGraphicFramePr>
        <p:xfrm>
          <a:off x="425064" y="1358792"/>
          <a:ext cx="5767837" cy="44707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3D7F747-FD52-83D3-D61B-9CB903904C7D}"/>
              </a:ext>
            </a:extLst>
          </p:cNvPr>
          <p:cNvGraphicFramePr/>
          <p:nvPr/>
        </p:nvGraphicFramePr>
        <p:xfrm>
          <a:off x="6322574" y="1160579"/>
          <a:ext cx="5767837" cy="45368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" name="Title 4">
            <a:extLst>
              <a:ext uri="{FF2B5EF4-FFF2-40B4-BE49-F238E27FC236}">
                <a16:creationId xmlns:a16="http://schemas.microsoft.com/office/drawing/2014/main" id="{B5272AC9-B8C3-77A1-E7B6-DBB4D547D253}"/>
              </a:ext>
            </a:extLst>
          </p:cNvPr>
          <p:cNvSpPr txBox="1">
            <a:spLocks/>
          </p:cNvSpPr>
          <p:nvPr/>
        </p:nvSpPr>
        <p:spPr>
          <a:xfrm>
            <a:off x="554736" y="78846"/>
            <a:ext cx="11082528" cy="76944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500" b="1" kern="1200" spc="0" baseline="0" dirty="0">
                <a:ln w="6350" cap="flat">
                  <a:noFill/>
                  <a:miter lim="800000"/>
                </a:ln>
                <a:solidFill>
                  <a:srgbClr val="002D5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500" b="1" i="0" u="none" strike="noStrike" kern="1200" cap="none" spc="0" normalizeH="0" baseline="0" noProof="0" dirty="0">
                <a:ln w="6350" cap="flat">
                  <a:noFill/>
                  <a:miter lim="800000"/>
                </a:ln>
                <a:solidFill>
                  <a:srgbClr val="002D5F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Good practices and innovation to mainstream/integrate COVID-19 vaccination </a:t>
            </a:r>
            <a:endParaRPr kumimoji="0" lang="en-GB" sz="2500" b="1" i="0" u="none" strike="noStrike" kern="1200" cap="none" spc="0" normalizeH="0" baseline="0" noProof="0" dirty="0">
              <a:ln w="6350" cap="flat">
                <a:noFill/>
                <a:miter lim="800000"/>
              </a:ln>
              <a:solidFill>
                <a:srgbClr val="002D5F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533711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7572EDC1-D67B-3040-6406-09F212E0BA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3. Supply chain &amp; waste management</a:t>
            </a:r>
          </a:p>
        </p:txBody>
      </p:sp>
    </p:spTree>
    <p:extLst>
      <p:ext uri="{BB962C8B-B14F-4D97-AF65-F5344CB8AC3E}">
        <p14:creationId xmlns:p14="http://schemas.microsoft.com/office/powerpoint/2010/main" val="35666828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heme/theme1.xml><?xml version="1.0" encoding="utf-8"?>
<a:theme xmlns:a="http://schemas.openxmlformats.org/drawingml/2006/main" name="4_White">
  <a:themeElements>
    <a:clrScheme name="Custom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92C3A"/>
      </a:accent1>
      <a:accent2>
        <a:srgbClr val="94D502"/>
      </a:accent2>
      <a:accent3>
        <a:srgbClr val="01ACEE"/>
      </a:accent3>
      <a:accent4>
        <a:srgbClr val="008DC9"/>
      </a:accent4>
      <a:accent5>
        <a:srgbClr val="BBA66C"/>
      </a:accent5>
      <a:accent6>
        <a:srgbClr val="D5D5D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82F3B"/>
        </a:accent1>
        <a:accent2>
          <a:srgbClr val="1B9EC7"/>
        </a:accent2>
        <a:accent3>
          <a:srgbClr val="E91F50"/>
        </a:accent3>
        <a:accent4>
          <a:srgbClr val="E6D2C8"/>
        </a:accent4>
        <a:accent5>
          <a:srgbClr val="AFAFAF"/>
        </a:accent5>
        <a:accent6>
          <a:srgbClr val="D5D5D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2022_template_CoVDP_PPT slides_V4" id="{7892FD9E-2D04-4665-8E84-6228638B7B61}" vid="{1CAC48E0-2F52-4F02-ADD0-08CB139A9AB9}"/>
    </a:ext>
  </a:extLst>
</a:theme>
</file>

<file path=ppt/theme/theme2.xml><?xml version="1.0" encoding="utf-8"?>
<a:theme xmlns:a="http://schemas.openxmlformats.org/drawingml/2006/main" name="5_White">
  <a:themeElements>
    <a:clrScheme name="Custom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92C3A"/>
      </a:accent1>
      <a:accent2>
        <a:srgbClr val="94D502"/>
      </a:accent2>
      <a:accent3>
        <a:srgbClr val="01ACEE"/>
      </a:accent3>
      <a:accent4>
        <a:srgbClr val="008DC9"/>
      </a:accent4>
      <a:accent5>
        <a:srgbClr val="BBA66C"/>
      </a:accent5>
      <a:accent6>
        <a:srgbClr val="D5D5D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82F3B"/>
        </a:accent1>
        <a:accent2>
          <a:srgbClr val="1B9EC7"/>
        </a:accent2>
        <a:accent3>
          <a:srgbClr val="E91F50"/>
        </a:accent3>
        <a:accent4>
          <a:srgbClr val="E6D2C8"/>
        </a:accent4>
        <a:accent5>
          <a:srgbClr val="AFAFAF"/>
        </a:accent5>
        <a:accent6>
          <a:srgbClr val="D5D5D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2022_template_CoVDP_PPT slides_V4" id="{7892FD9E-2D04-4665-8E84-6228638B7B61}" vid="{1CAC48E0-2F52-4F02-ADD0-08CB139A9AB9}"/>
    </a:ext>
  </a:extLst>
</a:theme>
</file>

<file path=ppt/theme/theme3.xml><?xml version="1.0" encoding="utf-8"?>
<a:theme xmlns:a="http://schemas.openxmlformats.org/drawingml/2006/main" name="6_White">
  <a:themeElements>
    <a:clrScheme name="Custom 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92C3A"/>
      </a:accent1>
      <a:accent2>
        <a:srgbClr val="94D502"/>
      </a:accent2>
      <a:accent3>
        <a:srgbClr val="01ACEE"/>
      </a:accent3>
      <a:accent4>
        <a:srgbClr val="008DC9"/>
      </a:accent4>
      <a:accent5>
        <a:srgbClr val="BBA66C"/>
      </a:accent5>
      <a:accent6>
        <a:srgbClr val="D5D5D5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82F3B"/>
        </a:accent1>
        <a:accent2>
          <a:srgbClr val="1B9EC7"/>
        </a:accent2>
        <a:accent3>
          <a:srgbClr val="E91F50"/>
        </a:accent3>
        <a:accent4>
          <a:srgbClr val="E6D2C8"/>
        </a:accent4>
        <a:accent5>
          <a:srgbClr val="AFAFAF"/>
        </a:accent5>
        <a:accent6>
          <a:srgbClr val="D5D5D5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2022_template_CoVDP_PPT slides_V4" id="{7892FD9E-2D04-4665-8E84-6228638B7B61}" vid="{1CAC48E0-2F52-4F02-ADD0-08CB139A9AB9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TaxCatchAll xmlns="22e6f7ab-bfec-4929-b941-1db3fca68adb" xsi:nil="true"/>
    <_ip_UnifiedCompliancePolicyProperties xmlns="http://schemas.microsoft.com/sharepoint/v3" xsi:nil="true"/>
    <lcf76f155ced4ddcb4097134ff3c332f xmlns="f34415f9-0926-4c1d-bec6-06d31453ba52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10EF81DAC90B1438F9CDF9151ABDF0B" ma:contentTypeVersion="17" ma:contentTypeDescription="Create a new document." ma:contentTypeScope="" ma:versionID="7752448887159647ee43325fb7cd2bd5">
  <xsd:schema xmlns:xsd="http://www.w3.org/2001/XMLSchema" xmlns:xs="http://www.w3.org/2001/XMLSchema" xmlns:p="http://schemas.microsoft.com/office/2006/metadata/properties" xmlns:ns1="http://schemas.microsoft.com/sharepoint/v3" xmlns:ns2="f34415f9-0926-4c1d-bec6-06d31453ba52" xmlns:ns3="22e6f7ab-bfec-4929-b941-1db3fca68adb" targetNamespace="http://schemas.microsoft.com/office/2006/metadata/properties" ma:root="true" ma:fieldsID="c62e9fdc01f037015ef1cc59dfd9ceb9" ns1:_="" ns2:_="" ns3:_="">
    <xsd:import namespace="http://schemas.microsoft.com/sharepoint/v3"/>
    <xsd:import namespace="f34415f9-0926-4c1d-bec6-06d31453ba52"/>
    <xsd:import namespace="22e6f7ab-bfec-4929-b941-1db3fca68ad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DateTaken" minOccurs="0"/>
                <xsd:element ref="ns1:_ip_UnifiedCompliancePolicyProperties" minOccurs="0"/>
                <xsd:element ref="ns1:_ip_UnifiedCompliancePolicyUIAction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0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1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4415f9-0926-4c1d-bec6-06d31453ba5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lcf76f155ced4ddcb4097134ff3c332f" ma:index="23" nillable="true" ma:taxonomy="true" ma:internalName="lcf76f155ced4ddcb4097134ff3c332f" ma:taxonomyFieldName="MediaServiceImageTags" ma:displayName="Image Tags" ma:readOnly="false" ma:fieldId="{5cf76f15-5ced-4ddc-b409-7134ff3c332f}" ma:taxonomyMulti="true" ma:sspId="087a3994-382d-444d-b490-9473c966173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2e6f7ab-bfec-4929-b941-1db3fca68adb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02a8891-12cb-4cc8-af52-0319b983b778}" ma:internalName="TaxCatchAll" ma:showField="CatchAllData" ma:web="22e6f7ab-bfec-4929-b941-1db3fca68ad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E7C25DD-D057-403D-992A-DCBEB4D3A068}">
  <ds:schemaRefs>
    <ds:schemaRef ds:uri="f34415f9-0926-4c1d-bec6-06d31453ba52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22e6f7ab-bfec-4929-b941-1db3fca68adb"/>
    <ds:schemaRef ds:uri="http://schemas.microsoft.com/sharepoint/v3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852EE8C4-108C-459D-8FAF-2B8D46D33C92}">
  <ds:schemaRefs>
    <ds:schemaRef ds:uri="22e6f7ab-bfec-4929-b941-1db3fca68adb"/>
    <ds:schemaRef ds:uri="f34415f9-0926-4c1d-bec6-06d31453ba5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46AEA752-4848-48A5-A000-83FE914C80BD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40</TotalTime>
  <Words>1357</Words>
  <Application>Microsoft Office PowerPoint</Application>
  <PresentationFormat>Widescreen</PresentationFormat>
  <Paragraphs>123</Paragraphs>
  <Slides>1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Segoe UI</vt:lpstr>
      <vt:lpstr>Wingdings</vt:lpstr>
      <vt:lpstr>4_White</vt:lpstr>
      <vt:lpstr>5_White</vt:lpstr>
      <vt:lpstr>6_White</vt:lpstr>
      <vt:lpstr>think-cell Slide</vt:lpstr>
      <vt:lpstr>Country experiences with COVID-19 vaccination  Main streaming &amp; integration with immunization programme services and PHC</vt:lpstr>
      <vt:lpstr>Content Areas</vt:lpstr>
      <vt:lpstr>1. Governance, planning &amp; financing</vt:lpstr>
      <vt:lpstr>Good practices and innovation to mainstream/integrate COVID-19 vaccination </vt:lpstr>
      <vt:lpstr>2. Service delivery, including co-delivery with other interventions</vt:lpstr>
      <vt:lpstr>Good practices and innovation to mainstream/integrate COVID-19 vaccination </vt:lpstr>
      <vt:lpstr>Good practices and innovation to mainstream/integrate COVID-19 vaccination </vt:lpstr>
      <vt:lpstr>PowerPoint Presentation</vt:lpstr>
      <vt:lpstr>3. Supply chain &amp; waste management</vt:lpstr>
      <vt:lpstr>PowerPoint Presentation</vt:lpstr>
      <vt:lpstr>4. Human resource management &amp; training</vt:lpstr>
      <vt:lpstr>PowerPoint Presentation</vt:lpstr>
      <vt:lpstr>5. Demand &amp; community engagement</vt:lpstr>
      <vt:lpstr>PowerPoint Presentation</vt:lpstr>
      <vt:lpstr>6. Data systems &amp; monitoring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streaming &amp; integration</dc:title>
  <dc:creator>Thomas Cherian</dc:creator>
  <cp:lastModifiedBy>VILAJELIU, Alba</cp:lastModifiedBy>
  <cp:revision>7</cp:revision>
  <dcterms:created xsi:type="dcterms:W3CDTF">2022-11-02T12:40:47Z</dcterms:created>
  <dcterms:modified xsi:type="dcterms:W3CDTF">2022-11-22T10:22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10EF81DAC90B1438F9CDF9151ABDF0B</vt:lpwstr>
  </property>
  <property fmtid="{D5CDD505-2E9C-101B-9397-08002B2CF9AE}" pid="3" name="MediaServiceImageTags">
    <vt:lpwstr/>
  </property>
</Properties>
</file>